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_rels/slideMaster6.xml.rels" ContentType="application/vnd.openxmlformats-package.relationships+xml"/>
  <Override PartName="/ppt/slideMasters/_rels/slideMaster5.xml.rels" ContentType="application/vnd.openxmlformats-package.relationships+xml"/>
  <Override PartName="/ppt/slideMasters/_rels/slideMaster16.xml.rels" ContentType="application/vnd.openxmlformats-package.relationships+xml"/>
  <Override PartName="/ppt/slideMasters/_rels/slideMaster11.xml.rels" ContentType="application/vnd.openxmlformats-package.relationships+xml"/>
  <Override PartName="/ppt/slideMasters/_rels/slideMaster10.xml.rels" ContentType="application/vnd.openxmlformats-package.relationships+xml"/>
  <Override PartName="/ppt/slideMasters/_rels/slideMaster9.xml.rels" ContentType="application/vnd.openxmlformats-package.relationships+xml"/>
  <Override PartName="/ppt/slideMasters/_rels/slideMaster4.xml.rels" ContentType="application/vnd.openxmlformats-package.relationships+xml"/>
  <Override PartName="/ppt/slideMasters/_rels/slideMaster15.xml.rels" ContentType="application/vnd.openxmlformats-package.relationships+xml"/>
  <Override PartName="/ppt/slideMasters/_rels/slideMaster8.xml.rels" ContentType="application/vnd.openxmlformats-package.relationships+xml"/>
  <Override PartName="/ppt/slideMasters/_rels/slideMaster12.xml.rels" ContentType="application/vnd.openxmlformats-package.relationships+xml"/>
  <Override PartName="/ppt/slideMasters/_rels/slideMaster1.xml.rels" ContentType="application/vnd.openxmlformats-package.relationships+xml"/>
  <Override PartName="/ppt/slideMasters/_rels/slideMaster7.xml.rels" ContentType="application/vnd.openxmlformats-package.relationships+xml"/>
  <Override PartName="/ppt/slideMasters/_rels/slideMaster13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14.xml.rels" ContentType="application/vnd.openxmlformats-package.relationships+xml"/>
  <Override PartName="/ppt/slideMasters/_rels/slideMaster3.xml.rels" ContentType="application/vnd.openxmlformats-package.relationships+xml"/>
  <Override PartName="/ppt/slideMasters/slideMaster14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presProps.xml" ContentType="application/vnd.openxmlformats-officedocument.presentationml.presProps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17.xml" ContentType="application/vnd.openxmlformats-officedocument.theme+xml"/>
  <Override PartName="/ppt/theme/theme16.xml" ContentType="application/vnd.openxmlformats-officedocument.theme+xml"/>
  <Override PartName="/ppt/theme/theme6.xml" ContentType="application/vnd.openxmlformats-officedocument.theme+xml"/>
  <Override PartName="/ppt/theme/theme15.xml" ContentType="application/vnd.openxmlformats-officedocument.theme+xml"/>
  <Override PartName="/ppt/theme/theme5.xml" ContentType="application/vnd.openxmlformats-officedocument.theme+xml"/>
  <Override PartName="/ppt/theme/theme14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11.xml" ContentType="application/vnd.openxmlformats-officedocument.theme+xml"/>
  <Override PartName="/ppt/theme/theme2.xml" ContentType="application/vnd.openxmlformats-officedocument.theme+xml"/>
  <Override PartName="/ppt/theme/theme12.xml" ContentType="application/vnd.openxmlformats-officedocument.theme+xml"/>
  <Override PartName="/ppt/theme/theme3.xml" ContentType="application/vnd.openxmlformats-officedocument.theme+xml"/>
  <Override PartName="/ppt/theme/theme13.xml" ContentType="application/vnd.openxmlformats-officedocument.theme+xml"/>
  <Override PartName="/ppt/_rels/presentation.xml.rels" ContentType="application/vnd.openxmlformats-package.relationships+xml"/>
  <Override PartName="/ppt/embeddings/oleObject1.bin" ContentType="application/vnd.openxmlformats-officedocument.oleObject"/>
  <Override PartName="/ppt/media/image1.wmf" ContentType="image/x-wmf"/>
  <Override PartName="/ppt/media/image2.png" ContentType="image/png"/>
  <Override PartName="/ppt/media/image3.png" ContentType="image/png"/>
  <Override PartName="/ppt/media/image4.png" ContentType="image/png"/>
  <Override PartName="/ppt/media/image5.png" ContentType="image/png"/>
  <Override PartName="/ppt/media/image6.svg" ContentType="image/svg"/>
  <Override PartName="/ppt/media/image9.png" ContentType="image/png"/>
  <Override PartName="/ppt/media/image7.png" ContentType="image/png"/>
  <Override PartName="/ppt/media/image8.svg" ContentType="image/svg"/>
  <Override PartName="/ppt/notesMasters/_rels/notesMaster1.xml.rels" ContentType="application/vnd.openxmlformats-package.relationships+xml"/>
  <Override PartName="/ppt/notesMasters/notesMaster1.xml" ContentType="application/vnd.openxmlformats-officedocument.presentationml.notesMaster+xml"/>
  <Override PartName="/ppt/slideLayouts/slideLayout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_rels/slideLayout5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11.xml.rels" ContentType="application/vnd.openxmlformats-package.relationship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s/slide1.xml" ContentType="application/vnd.openxmlformats-officedocument.presentationml.slide+xml"/>
  <Override PartName="/ppt/slides/_rels/slide9.xml.rels" ContentType="application/vnd.openxmlformats-package.relationships+xml"/>
  <Override PartName="/ppt/slides/_rels/slide8.xml.rels" ContentType="application/vnd.openxmlformats-package.relationships+xml"/>
  <Override PartName="/ppt/slides/_rels/slide7.xml.rels" ContentType="application/vnd.openxmlformats-package.relationships+xml"/>
  <Override PartName="/ppt/slides/_rels/slide6.xml.rels" ContentType="application/vnd.openxmlformats-package.relationships+xml"/>
  <Override PartName="/ppt/slides/_rels/slide5.xml.rels" ContentType="application/vnd.openxmlformats-package.relationships+xml"/>
  <Override PartName="/ppt/slides/_rels/slide4.xml.rels" ContentType="application/vnd.openxmlformats-package.relationships+xml"/>
  <Override PartName="/ppt/slides/_rels/slide3.xml.rels" ContentType="application/vnd.openxmlformats-package.relationships+xml"/>
  <Override PartName="/ppt/slides/_rels/slide2.xml.rels" ContentType="application/vnd.openxmlformats-package.relationships+xml"/>
  <Override PartName="/ppt/slides/_rels/slide1.xml.rels" ContentType="application/vnd.openxmlformats-package.relationships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Slides/_rels/notesSlide8.xml.rels" ContentType="application/vnd.openxmlformats-package.relationships+xml"/>
  <Override PartName="/ppt/notesSlides/_rels/notesSlide7.xml.rels" ContentType="application/vnd.openxmlformats-package.relationships+xml"/>
  <Override PartName="/ppt/notesSlides/_rels/notesSlide6.xml.rels" ContentType="application/vnd.openxmlformats-package.relationships+xml"/>
  <Override PartName="/ppt/notesSlides/_rels/notesSlide5.xml.rels" ContentType="application/vnd.openxmlformats-package.relationships+xml"/>
  <Override PartName="/ppt/notesSlides/_rels/notesSlide4.xml.rels" ContentType="application/vnd.openxmlformats-package.relationships+xml"/>
  <Override PartName="/ppt/notesSlides/_rels/notesSlide3.xml.rels" ContentType="application/vnd.openxmlformats-package.relationships+xml"/>
  <Override PartName="/ppt/notesSlides/_rels/notesSlide2.xml.rels" ContentType="application/vnd.openxmlformats-package.relationships+xml"/>
  <Override PartName="/ppt/notesSlides/_rels/notesSlide1.xml.rels" ContentType="application/vnd.openxmlformats-package.relationship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50" r:id="rId3"/>
    <p:sldMasterId id="2147483652" r:id="rId4"/>
    <p:sldMasterId id="2147483654" r:id="rId5"/>
    <p:sldMasterId id="2147483656" r:id="rId6"/>
    <p:sldMasterId id="2147483658" r:id="rId7"/>
    <p:sldMasterId id="2147483660" r:id="rId8"/>
    <p:sldMasterId id="2147483662" r:id="rId9"/>
    <p:sldMasterId id="2147483664" r:id="rId10"/>
    <p:sldMasterId id="2147483666" r:id="rId11"/>
    <p:sldMasterId id="2147483668" r:id="rId12"/>
    <p:sldMasterId id="2147483670" r:id="rId13"/>
    <p:sldMasterId id="2147483672" r:id="rId14"/>
    <p:sldMasterId id="2147483674" r:id="rId15"/>
    <p:sldMasterId id="2147483676" r:id="rId16"/>
    <p:sldMasterId id="2147483678" r:id="rId17"/>
  </p:sldMasterIdLst>
  <p:notesMasterIdLst>
    <p:notesMasterId r:id="rId18"/>
  </p:notesMasterIdLst>
  <p:sldIdLst>
    <p:sldId id="256" r:id="rId19"/>
    <p:sldId id="257" r:id="rId20"/>
    <p:sldId id="258" r:id="rId21"/>
    <p:sldId id="259" r:id="rId22"/>
    <p:sldId id="260" r:id="rId23"/>
    <p:sldId id="261" r:id="rId24"/>
    <p:sldId id="262" r:id="rId25"/>
    <p:sldId id="263" r:id="rId26"/>
    <p:sldId id="264" r:id="rId27"/>
  </p:sldIdLst>
  <p:sldSz cx="9144000" cy="51435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slideMaster" Target="slideMasters/slideMaster5.xml"/><Relationship Id="rId7" Type="http://schemas.openxmlformats.org/officeDocument/2006/relationships/slideMaster" Target="slideMasters/slideMaster6.xml"/><Relationship Id="rId8" Type="http://schemas.openxmlformats.org/officeDocument/2006/relationships/slideMaster" Target="slideMasters/slideMaster7.xml"/><Relationship Id="rId9" Type="http://schemas.openxmlformats.org/officeDocument/2006/relationships/slideMaster" Target="slideMasters/slideMaster8.xml"/><Relationship Id="rId10" Type="http://schemas.openxmlformats.org/officeDocument/2006/relationships/slideMaster" Target="slideMasters/slideMaster9.xml"/><Relationship Id="rId11" Type="http://schemas.openxmlformats.org/officeDocument/2006/relationships/slideMaster" Target="slideMasters/slideMaster10.xml"/><Relationship Id="rId12" Type="http://schemas.openxmlformats.org/officeDocument/2006/relationships/slideMaster" Target="slideMasters/slideMaster11.xml"/><Relationship Id="rId13" Type="http://schemas.openxmlformats.org/officeDocument/2006/relationships/slideMaster" Target="slideMasters/slideMaster12.xml"/><Relationship Id="rId14" Type="http://schemas.openxmlformats.org/officeDocument/2006/relationships/slideMaster" Target="slideMasters/slideMaster13.xml"/><Relationship Id="rId15" Type="http://schemas.openxmlformats.org/officeDocument/2006/relationships/slideMaster" Target="slideMasters/slideMaster14.xml"/><Relationship Id="rId16" Type="http://schemas.openxmlformats.org/officeDocument/2006/relationships/slideMaster" Target="slideMasters/slideMaster15.xml"/><Relationship Id="rId17" Type="http://schemas.openxmlformats.org/officeDocument/2006/relationships/slideMaster" Target="slideMasters/slideMaster16.xml"/><Relationship Id="rId18" Type="http://schemas.openxmlformats.org/officeDocument/2006/relationships/notesMaster" Target="notesMasters/notesMaster1.xml"/><Relationship Id="rId19" Type="http://schemas.openxmlformats.org/officeDocument/2006/relationships/slide" Target="slides/slide1.xml"/><Relationship Id="rId20" Type="http://schemas.openxmlformats.org/officeDocument/2006/relationships/slide" Target="slides/slide2.xml"/><Relationship Id="rId21" Type="http://schemas.openxmlformats.org/officeDocument/2006/relationships/slide" Target="slides/slide3.xml"/><Relationship Id="rId22" Type="http://schemas.openxmlformats.org/officeDocument/2006/relationships/slide" Target="slides/slide4.xml"/><Relationship Id="rId23" Type="http://schemas.openxmlformats.org/officeDocument/2006/relationships/slide" Target="slides/slide5.xml"/><Relationship Id="rId24" Type="http://schemas.openxmlformats.org/officeDocument/2006/relationships/slide" Target="slides/slide6.xml"/><Relationship Id="rId25" Type="http://schemas.openxmlformats.org/officeDocument/2006/relationships/slide" Target="slides/slide7.xml"/><Relationship Id="rId26" Type="http://schemas.openxmlformats.org/officeDocument/2006/relationships/slide" Target="slides/slide8.xml"/><Relationship Id="rId27" Type="http://schemas.openxmlformats.org/officeDocument/2006/relationships/slide" Target="slides/slide9.xml"/><Relationship Id="rId28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17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PlaceHolder 1"/>
          <p:cNvSpPr>
            <a:spLocks noGrp="1"/>
          </p:cNvSpPr>
          <p:nvPr>
            <p:ph type="sldImg"/>
          </p:nvPr>
        </p:nvSpPr>
        <p:spPr>
          <a:xfrm>
            <a:off x="0" y="81252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еремещения страницы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3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-216000">
              <a:buNone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Для правки формата примечаний щёлкните мышью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4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верх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55" name="PlaceHolder 4"/>
          <p:cNvSpPr>
            <a:spLocks noGrp="1"/>
          </p:cNvSpPr>
          <p:nvPr>
            <p:ph type="dt" idx="12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дата/время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56" name="PlaceHolder 5"/>
          <p:cNvSpPr>
            <a:spLocks noGrp="1"/>
          </p:cNvSpPr>
          <p:nvPr>
            <p:ph type="ftr" idx="13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57" name="PlaceHolder 6"/>
          <p:cNvSpPr>
            <a:spLocks noGrp="1"/>
          </p:cNvSpPr>
          <p:nvPr>
            <p:ph type="sldNum" idx="14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 algn="r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fld id="{3B7D8805-A72F-436A-8C67-9EB31BE12FBC}" type="slidenum"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омер&gt;</a:t>
            </a:fld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_rels/notesSlide5.xml.rels><?xml version="1.0" encoding="UTF-8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
</Relationships>
</file>

<file path=ppt/notesSlides/_rels/notesSlide6.xml.rels><?xml version="1.0" encoding="UTF-8"?>
<Relationships xmlns="http://schemas.openxmlformats.org/package/2006/relationships"><Relationship Id="rId1" Type="http://schemas.openxmlformats.org/officeDocument/2006/relationships/slide" Target="../slides/slide6.xml"/><Relationship Id="rId2" Type="http://schemas.openxmlformats.org/officeDocument/2006/relationships/notesMaster" Target="../notesMasters/notesMaster1.xml"/>
</Relationships>
</file>

<file path=ppt/notesSlides/_rels/notesSlide7.xml.rels><?xml version="1.0" encoding="UTF-8"?>
<Relationships xmlns="http://schemas.openxmlformats.org/package/2006/relationships"><Relationship Id="rId1" Type="http://schemas.openxmlformats.org/officeDocument/2006/relationships/slide" Target="../slides/slide7.xml"/><Relationship Id="rId2" Type="http://schemas.openxmlformats.org/officeDocument/2006/relationships/notesMaster" Target="../notesMasters/notesMaster1.xml"/>
</Relationships>
</file>

<file path=ppt/notesSlides/_rels/notesSlide8.xml.rels><?xml version="1.0" encoding="UTF-8"?>
<Relationships xmlns="http://schemas.openxmlformats.org/package/2006/relationships"><Relationship Id="rId1" Type="http://schemas.openxmlformats.org/officeDocument/2006/relationships/slide" Target="../slides/slide8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PlaceHolder 1"/>
          <p:cNvSpPr>
            <a:spLocks noGrp="1"/>
          </p:cNvSpPr>
          <p:nvPr>
            <p:ph type="sldImg"/>
          </p:nvPr>
        </p:nvSpPr>
        <p:spPr>
          <a:xfrm>
            <a:off x="92160" y="746280"/>
            <a:ext cx="6625440" cy="3726720"/>
          </a:xfrm>
          <a:prstGeom prst="rect">
            <a:avLst/>
          </a:prstGeom>
          <a:ln w="0">
            <a:noFill/>
          </a:ln>
        </p:spPr>
      </p:sp>
      <p:sp>
        <p:nvSpPr>
          <p:cNvPr id="303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680" cy="411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158760" indent="0" defTabSz="91440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100" spc="-1" strike="noStrike">
                <a:solidFill>
                  <a:schemeClr val="dk1"/>
                </a:solidFill>
                <a:latin typeface="Arial"/>
              </a:rPr>
              <a:t>Всем добрый день! Рад всем, кто пришел и кто подключился на наш буткамп PostgreSQL.</a:t>
            </a:r>
            <a:br>
              <a:rPr sz="1100"/>
            </a:b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  <a:p>
            <a:pPr marL="158760" indent="0" defTabSz="914400">
              <a:lnSpc>
                <a:spcPct val="100000"/>
              </a:lnSpc>
              <a:buNone/>
              <a:tabLst>
                <a:tab algn="l" pos="0"/>
              </a:tabLst>
            </a:pP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4" name="PlaceHolder 3"/>
          <p:cNvSpPr>
            <a:spLocks noGrp="1"/>
          </p:cNvSpPr>
          <p:nvPr>
            <p:ph type="sldNum" idx="15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-45000" bIns="-45000" anchor="t">
            <a:noAutofit/>
          </a:bodyPr>
          <a:lstStyle>
            <a:lvl1pPr indent="0" algn="r" defTabSz="1105560">
              <a:lnSpc>
                <a:spcPct val="100000"/>
              </a:lnSpc>
              <a:buNone/>
              <a:tabLst>
                <a:tab algn="l" pos="0"/>
              </a:tabLst>
              <a:defRPr b="0" lang="ru-RU" sz="2170" spc="-1" strike="noStrike">
                <a:solidFill>
                  <a:schemeClr val="dk1"/>
                </a:solidFill>
                <a:latin typeface="+mn-lt"/>
                <a:ea typeface="+mn-ea"/>
              </a:defRPr>
            </a:lvl1pPr>
          </a:lstStyle>
          <a:p>
            <a:pPr indent="0" algn="r" defTabSz="1105560">
              <a:lnSpc>
                <a:spcPct val="100000"/>
              </a:lnSpc>
              <a:buNone/>
              <a:tabLst>
                <a:tab algn="l" pos="0"/>
              </a:tabLst>
            </a:pPr>
            <a:fld id="{51086461-D423-4392-8DC7-5F25AEEBA2BC}" type="slidenum">
              <a:rPr b="0" lang="ru-RU" sz="2170" spc="-1" strike="noStrike">
                <a:solidFill>
                  <a:schemeClr val="dk1"/>
                </a:solidFill>
                <a:latin typeface="+mn-lt"/>
                <a:ea typeface="+mn-ea"/>
              </a:rPr>
              <a:t>&lt;номер&gt;</a:t>
            </a:fld>
            <a:endParaRPr b="0" lang="ru-RU" sz="217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5160" cy="3428280"/>
          </a:xfrm>
          <a:prstGeom prst="rect">
            <a:avLst/>
          </a:prstGeom>
          <a:ln w="0">
            <a:noFill/>
          </a:ln>
        </p:spPr>
      </p:sp>
      <p:sp>
        <p:nvSpPr>
          <p:cNvPr id="306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680" cy="411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5160" cy="3428280"/>
          </a:xfrm>
          <a:prstGeom prst="rect">
            <a:avLst/>
          </a:prstGeom>
          <a:ln w="0">
            <a:noFill/>
          </a:ln>
        </p:spPr>
      </p:sp>
      <p:sp>
        <p:nvSpPr>
          <p:cNvPr id="308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680" cy="411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5160" cy="3428280"/>
          </a:xfrm>
          <a:prstGeom prst="rect">
            <a:avLst/>
          </a:prstGeom>
          <a:ln w="0">
            <a:noFill/>
          </a:ln>
        </p:spPr>
      </p:sp>
      <p:sp>
        <p:nvSpPr>
          <p:cNvPr id="310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680" cy="411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5160" cy="3428280"/>
          </a:xfrm>
          <a:prstGeom prst="rect">
            <a:avLst/>
          </a:prstGeom>
          <a:ln w="0">
            <a:noFill/>
          </a:ln>
        </p:spPr>
      </p:sp>
      <p:sp>
        <p:nvSpPr>
          <p:cNvPr id="312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680" cy="411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5160" cy="3428280"/>
          </a:xfrm>
          <a:prstGeom prst="rect">
            <a:avLst/>
          </a:prstGeom>
          <a:ln w="0">
            <a:noFill/>
          </a:ln>
        </p:spPr>
      </p:sp>
      <p:sp>
        <p:nvSpPr>
          <p:cNvPr id="314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680" cy="411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5160" cy="3428280"/>
          </a:xfrm>
          <a:prstGeom prst="rect">
            <a:avLst/>
          </a:prstGeom>
          <a:ln w="0">
            <a:noFill/>
          </a:ln>
        </p:spPr>
      </p:sp>
      <p:sp>
        <p:nvSpPr>
          <p:cNvPr id="316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680" cy="411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notesSlides/notesSlide8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5160" cy="3428280"/>
          </a:xfrm>
          <a:prstGeom prst="rect">
            <a:avLst/>
          </a:prstGeom>
          <a:ln w="0">
            <a:noFill/>
          </a:ln>
        </p:spPr>
      </p:sp>
      <p:sp>
        <p:nvSpPr>
          <p:cNvPr id="318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680" cy="411408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Autofit/>
          </a:bodyPr>
          <a:p>
            <a:pPr marL="216000" indent="0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Пару слов расскажу о себе: я окончил магистратуру ВМК МГУ по специальности прикладная математика и информатика.</a:t>
            </a:r>
            <a:br>
              <a:rPr sz="1100"/>
            </a:br>
            <a:r>
              <a:rPr b="0" lang="en" sz="1100" spc="-1" strike="noStrike">
                <a:solidFill>
                  <a:srgbClr val="000000"/>
                </a:solidFill>
                <a:latin typeface="Arial"/>
              </a:rPr>
              <a:t>Начал свою карьеру в Ауриге занимался разработкой драйвера usb-hub 3.0. Далее я работал в инфотексе, делал программно-аппаратные комплексы, которые представляют собой VPN-шлюзы. И теперь я работаю в Тантор-Лабс в роли разработчика PostgreSQL.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0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2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3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4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5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6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7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8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9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6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8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9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0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______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1_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2_Titl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5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6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PlaceHolder 1"/>
          <p:cNvSpPr>
            <a:spLocks noGrp="1"/>
          </p:cNvSpPr>
          <p:nvPr>
            <p:ph type="title"/>
          </p:nvPr>
        </p:nvSpPr>
        <p:spPr>
          <a:xfrm>
            <a:off x="457200" y="9360"/>
            <a:ext cx="82292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5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F8EA222A-2F8F-4223-A23E-55C545D82568}" type="slidenum">
              <a:t>&lt;#&gt;</a:t>
            </a:fld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7_Title &amp; 1 column tex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.xml"/>
</Relationships>
</file>

<file path=ppt/slideMasters/_rels/slideMaster10.xml.rels><?xml version="1.0" encoding="UTF-8"?>
<Relationships xmlns="http://schemas.openxmlformats.org/package/2006/relationships"><Relationship Id="rId1" Type="http://schemas.openxmlformats.org/officeDocument/2006/relationships/theme" Target="../theme/theme10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0.xml"/>
</Relationships>
</file>

<file path=ppt/slideMasters/_rels/slideMaster11.xml.rels><?xml version="1.0" encoding="UTF-8"?>
<Relationships xmlns="http://schemas.openxmlformats.org/package/2006/relationships"><Relationship Id="rId1" Type="http://schemas.openxmlformats.org/officeDocument/2006/relationships/theme" Target="../theme/theme1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1.xml"/>
</Relationships>
</file>

<file path=ppt/slideMasters/_rels/slideMaster12.xml.rels><?xml version="1.0" encoding="UTF-8"?>
<Relationships xmlns="http://schemas.openxmlformats.org/package/2006/relationships"><Relationship Id="rId1" Type="http://schemas.openxmlformats.org/officeDocument/2006/relationships/theme" Target="../theme/theme1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2.xml"/>
</Relationships>
</file>

<file path=ppt/slideMasters/_rels/slideMaster13.xml.rels><?xml version="1.0" encoding="UTF-8"?>
<Relationships xmlns="http://schemas.openxmlformats.org/package/2006/relationships"><Relationship Id="rId1" Type="http://schemas.openxmlformats.org/officeDocument/2006/relationships/theme" Target="../theme/theme1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3.xml"/>
</Relationships>
</file>

<file path=ppt/slideMasters/_rels/slideMaster14.xml.rels><?xml version="1.0" encoding="UTF-8"?>
<Relationships xmlns="http://schemas.openxmlformats.org/package/2006/relationships"><Relationship Id="rId1" Type="http://schemas.openxmlformats.org/officeDocument/2006/relationships/theme" Target="../theme/theme1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4.xml"/>
</Relationships>
</file>

<file path=ppt/slideMasters/_rels/slideMaster15.xml.rels><?xml version="1.0" encoding="UTF-8"?>
<Relationships xmlns="http://schemas.openxmlformats.org/package/2006/relationships"><Relationship Id="rId1" Type="http://schemas.openxmlformats.org/officeDocument/2006/relationships/theme" Target="../theme/theme1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5.xml"/>
</Relationships>
</file>

<file path=ppt/slideMasters/_rels/slideMaster16.xml.rels><?xml version="1.0" encoding="UTF-8"?>
<Relationships xmlns="http://schemas.openxmlformats.org/package/2006/relationships"><Relationship Id="rId1" Type="http://schemas.openxmlformats.org/officeDocument/2006/relationships/theme" Target="../theme/theme16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6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2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3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4.xml"/>
</Relationships>
</file>

<file path=ppt/slideMasters/_rels/slideMaster5.xml.rels><?xml version="1.0" encoding="UTF-8"?>
<Relationships xmlns="http://schemas.openxmlformats.org/package/2006/relationships"><Relationship Id="rId1" Type="http://schemas.openxmlformats.org/officeDocument/2006/relationships/theme" Target="../theme/theme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5.xml"/>
</Relationships>
</file>

<file path=ppt/slideMasters/_rels/slideMaster6.xml.rels><?xml version="1.0" encoding="UTF-8"?>
<Relationships xmlns="http://schemas.openxmlformats.org/package/2006/relationships"><Relationship Id="rId1" Type="http://schemas.openxmlformats.org/officeDocument/2006/relationships/theme" Target="../theme/theme6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6.xml"/>
</Relationships>
</file>

<file path=ppt/slideMasters/_rels/slideMaster7.xml.rels><?xml version="1.0" encoding="UTF-8"?>
<Relationships xmlns="http://schemas.openxmlformats.org/package/2006/relationships"><Relationship Id="rId1" Type="http://schemas.openxmlformats.org/officeDocument/2006/relationships/theme" Target="../theme/theme7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7.xml"/>
</Relationships>
</file>

<file path=ppt/slideMasters/_rels/slideMaster8.xml.rels><?xml version="1.0" encoding="UTF-8"?>
<Relationships xmlns="http://schemas.openxmlformats.org/package/2006/relationships"><Relationship Id="rId1" Type="http://schemas.openxmlformats.org/officeDocument/2006/relationships/theme" Target="../theme/theme8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8.xml"/>
</Relationships>
</file>

<file path=ppt/slideMasters/_rels/slideMaster9.xml.rels><?xml version="1.0" encoding="UTF-8"?>
<Relationships xmlns="http://schemas.openxmlformats.org/package/2006/relationships"><Relationship Id="rId1" Type="http://schemas.openxmlformats.org/officeDocument/2006/relationships/theme" Target="../theme/theme9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9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" name="TextBox 6" hidden="1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B8A5647F-1EDD-4CC2-9F47-BE63EC4EA679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4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2" name="Graphic 20" hidden="1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4"/>
  </p:sldLayoutIdLst>
</p:sldMaster>
</file>

<file path=ppt/slideMasters/slideMaster10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43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44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49B31417-CF41-41CD-8938-46CE248B4C04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45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146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7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8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49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50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51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52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53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54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55" name="PlaceHolder 1"/>
          <p:cNvSpPr>
            <a:spLocks noGrp="1"/>
          </p:cNvSpPr>
          <p:nvPr>
            <p:ph type="ftr" idx="5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56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7" r:id="rId4"/>
  </p:sldLayoutIdLst>
</p:sldMaster>
</file>

<file path=ppt/slideMasters/slideMaster1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8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59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60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FF74A7D5-B16D-40FC-A9AB-C8B8203A71BD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1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162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3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4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5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6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7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8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69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70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71" name="PlaceHolder 1"/>
          <p:cNvSpPr>
            <a:spLocks noGrp="1"/>
          </p:cNvSpPr>
          <p:nvPr>
            <p:ph type="ftr" idx="6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72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3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9" r:id="rId4"/>
  </p:sldLayoutIdLst>
</p:sldMaster>
</file>

<file path=ppt/slideMasters/slideMaster1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75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76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2ED8153D-1802-4448-BE3E-D3A22C5BAF67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77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178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79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0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1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2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3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4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5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86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87" name="PlaceHolder 1"/>
          <p:cNvSpPr>
            <a:spLocks noGrp="1"/>
          </p:cNvSpPr>
          <p:nvPr>
            <p:ph type="ftr" idx="7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88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9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1" r:id="rId4"/>
  </p:sldLayoutIdLst>
</p:sldMaster>
</file>

<file path=ppt/slideMasters/slideMaster1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0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91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92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75D5E455-854C-4DDB-83F4-4EF50CC18CAD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93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194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5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6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7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8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9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00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01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02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03" name="PlaceHolder 1"/>
          <p:cNvSpPr>
            <a:spLocks noGrp="1"/>
          </p:cNvSpPr>
          <p:nvPr>
            <p:ph type="ftr" idx="8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04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3" r:id="rId4"/>
  </p:sldLayoutIdLst>
</p:sldMaster>
</file>

<file path=ppt/slideMasters/slideMaster1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6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0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08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B2199B92-CB54-4E23-AA9F-B71D134F7C67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09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210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1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2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3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4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5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6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7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18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19" name="PlaceHolder 1"/>
          <p:cNvSpPr>
            <a:spLocks noGrp="1"/>
          </p:cNvSpPr>
          <p:nvPr>
            <p:ph type="ftr" idx="9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5" r:id="rId4"/>
  </p:sldLayoutIdLst>
</p:sldMaster>
</file>

<file path=ppt/slideMasters/slideMaster1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0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21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22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C7C371E3-9818-432C-83BC-9168D6CC2C37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23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224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5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6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7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8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9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30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31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32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33" name="PlaceHolder 1"/>
          <p:cNvSpPr>
            <a:spLocks noGrp="1"/>
          </p:cNvSpPr>
          <p:nvPr>
            <p:ph type="ftr" idx="10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34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5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7" r:id="rId4"/>
  </p:sldLayoutIdLst>
</p:sldMaster>
</file>

<file path=ppt/slideMasters/slideMaster1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6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23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38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AB1337B6-96B7-452F-9EB1-7DE565B68206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39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240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1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2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3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4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5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6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7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48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49" name="PlaceHolder 1"/>
          <p:cNvSpPr>
            <a:spLocks noGrp="1"/>
          </p:cNvSpPr>
          <p:nvPr>
            <p:ph type="ftr" idx="11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250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1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9" r:id="rId4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4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5" name="TextBox 6" hidden="1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E6A8CC1F-AC60-4CE0-BD3B-A8160ECE865B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17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8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9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0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1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2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3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4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5" name="Graphic 20" hidden="1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</a:t>
            </a: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1" r:id="rId4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accen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29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0" name="TextBox 6" hidden="1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D9A6D2F0-5974-4F99-B283-5A6D0AD6F239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1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32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3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4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5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6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7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8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9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40" name="Graphic 20" hidden="1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4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ffffff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ffffff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ffffff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ffffff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ffffff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ffffff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ffffff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ffffff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ffffff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3" r:id="rId4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accent1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44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5" name="TextBox 6" hidden="1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BCC45158-6C3D-4860-99C3-D6E0BCF8B2A3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6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47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48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49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0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1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2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3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4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55" name="Graphic 20" hidden="1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56" name="Graphic 20"/>
          <p:cNvSpPr/>
          <p:nvPr/>
        </p:nvSpPr>
        <p:spPr>
          <a:xfrm>
            <a:off x="476280" y="315324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grpSp>
        <p:nvGrpSpPr>
          <p:cNvPr id="57" name="Group 6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58" name="Freeform: Shape 7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59" name="Freeform: Shape 8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0" name="Freeform: Shape 9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1" name="Freeform: Shape 10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2" name="Freeform: Shape 11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3" name="Freeform: Shape 12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4" name="Freeform: Shape 13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65" name="Freeform: Shape 14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5" r:id="rId4"/>
  </p:sldLayoutIdLst>
</p:sldMaster>
</file>

<file path=ppt/slideMasters/slideMaster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6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68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6635A7BA-CE15-45A9-870F-DBD96026701B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69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70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1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2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3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4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5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6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77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78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79" name="PlaceHolder 1"/>
          <p:cNvSpPr>
            <a:spLocks noGrp="1"/>
          </p:cNvSpPr>
          <p:nvPr>
            <p:ph type="ftr" idx="1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7" r:id="rId4"/>
  </p:sldLayoutIdLst>
</p:sldMaster>
</file>

<file path=ppt/slideMasters/slideMaster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83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84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D320DDC2-9A9C-461F-96D8-0EF7E8E52CFE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5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86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7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8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89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0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1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2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93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94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95" name="PlaceHolder 1"/>
          <p:cNvSpPr>
            <a:spLocks noGrp="1"/>
          </p:cNvSpPr>
          <p:nvPr>
            <p:ph type="ftr" idx="2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59" r:id="rId4"/>
  </p:sldLayoutIdLst>
</p:sldMaster>
</file>

<file path=ppt/slideMasters/slideMaster7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9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98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A59FC6E4-E8EC-4109-AB30-354A8E49304B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99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100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1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2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3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4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5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6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07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08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1" r:id="rId4"/>
  </p:sldLayoutIdLst>
</p:sldMaster>
</file>

<file path=ppt/slideMasters/slideMaster8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10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11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0EFB148B-65CF-436B-A1E3-3F83E62247B8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12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113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4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5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6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7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8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19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20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21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22" name="PlaceHolder 1"/>
          <p:cNvSpPr>
            <a:spLocks noGrp="1"/>
          </p:cNvSpPr>
          <p:nvPr>
            <p:ph type="title"/>
          </p:nvPr>
        </p:nvSpPr>
        <p:spPr>
          <a:xfrm>
            <a:off x="588960" y="1989360"/>
            <a:ext cx="6888240" cy="16243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PlaceHolder 2"/>
          <p:cNvSpPr>
            <a:spLocks noGrp="1"/>
          </p:cNvSpPr>
          <p:nvPr>
            <p:ph type="sldNum" idx="3"/>
          </p:nvPr>
        </p:nvSpPr>
        <p:spPr>
          <a:xfrm>
            <a:off x="8472600" y="4663080"/>
            <a:ext cx="547920" cy="3927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Autofit/>
          </a:bodyPr>
          <a:lstStyle>
            <a:lvl1pPr indent="0" algn="r" defTabSz="1105560">
              <a:lnSpc>
                <a:spcPct val="100000"/>
              </a:lnSpc>
              <a:buNone/>
              <a:tabLst>
                <a:tab algn="l" pos="0"/>
              </a:tabLst>
              <a:defRPr b="0" lang="en" sz="2170" spc="-1" strike="noStrike">
                <a:solidFill>
                  <a:schemeClr val="dk1"/>
                </a:solidFill>
                <a:latin typeface="PT Astra Fact"/>
              </a:defRPr>
            </a:lvl1pPr>
          </a:lstStyle>
          <a:p>
            <a:pPr indent="0" algn="r" defTabSz="1105560">
              <a:lnSpc>
                <a:spcPct val="100000"/>
              </a:lnSpc>
              <a:buNone/>
              <a:tabLst>
                <a:tab algn="l" pos="0"/>
              </a:tabLst>
            </a:pPr>
            <a:fld id="{3BA13C36-9987-4A64-97B1-C6CF68938854}" type="slidenum">
              <a:rPr b="0" lang="en" sz="217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217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3" r:id="rId4"/>
  </p:sldLayoutIdLst>
</p:sldMaster>
</file>

<file path=ppt/slideMasters/slideMaster9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chemeClr val="lt1">
            <a:lumMod val="95000"/>
          </a:schemeClr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6" name="Object 3"/>
          <p:cNvGraphicFramePr/>
          <p:nvPr/>
        </p:nvGraphicFramePr>
        <p:xfrm>
          <a:off x="1440" y="1080"/>
          <a:ext cx="72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27" name="Object 3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080"/>
                    <a:ext cx="72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28" name="TextBox 6"/>
          <p:cNvSpPr/>
          <p:nvPr/>
        </p:nvSpPr>
        <p:spPr>
          <a:xfrm>
            <a:off x="8625240" y="4824000"/>
            <a:ext cx="163440" cy="11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 algn="r" defTabSz="877320">
              <a:lnSpc>
                <a:spcPct val="100000"/>
              </a:lnSpc>
              <a:spcBef>
                <a:spcPts val="533"/>
              </a:spcBef>
              <a:tabLst>
                <a:tab algn="l" pos="0"/>
              </a:tabLst>
            </a:pPr>
            <a:fld id="{CEF28E63-1AD5-4B8C-9368-25BD03442678}" type="slidenum">
              <a:rPr b="0" lang="en-US" sz="710" spc="-1" strike="noStrike">
                <a:solidFill>
                  <a:schemeClr val="dk1"/>
                </a:solidFill>
                <a:latin typeface="PT Astra Fact"/>
              </a:rPr>
              <a:t>&lt;номер&gt;</a:t>
            </a:fld>
            <a:endParaRPr b="0" lang="ru-RU" sz="710" spc="-1" strike="noStrike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29" name="Group 12"/>
          <p:cNvGrpSpPr/>
          <p:nvPr/>
        </p:nvGrpSpPr>
        <p:grpSpPr>
          <a:xfrm>
            <a:off x="8202960" y="480960"/>
            <a:ext cx="565200" cy="223200"/>
            <a:chOff x="8202960" y="480960"/>
            <a:chExt cx="565200" cy="223200"/>
          </a:xfrm>
        </p:grpSpPr>
        <p:sp>
          <p:nvSpPr>
            <p:cNvPr id="130" name="Freeform: Shape 13"/>
            <p:cNvSpPr/>
            <p:nvPr/>
          </p:nvSpPr>
          <p:spPr>
            <a:xfrm>
              <a:off x="8532000" y="572760"/>
              <a:ext cx="51840" cy="13104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1" name="Freeform: Shape 14"/>
            <p:cNvSpPr/>
            <p:nvPr/>
          </p:nvSpPr>
          <p:spPr>
            <a:xfrm>
              <a:off x="8597880" y="599400"/>
              <a:ext cx="104760" cy="104760"/>
            </a:xfrm>
            <a:custGeom>
              <a:avLst/>
              <a:gdLst>
                <a:gd name="textAreaLeft" fmla="*/ 0 w 104760"/>
                <a:gd name="textAreaRight" fmla="*/ 105480 w 10476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2" name="Freeform: Shape 15"/>
            <p:cNvSpPr/>
            <p:nvPr/>
          </p:nvSpPr>
          <p:spPr>
            <a:xfrm>
              <a:off x="8716320" y="599400"/>
              <a:ext cx="51840" cy="104400"/>
            </a:xfrm>
            <a:custGeom>
              <a:avLst/>
              <a:gdLst>
                <a:gd name="textAreaLeft" fmla="*/ 0 w 51840"/>
                <a:gd name="textAreaRight" fmla="*/ 52560 w 51840"/>
                <a:gd name="textAreaTop" fmla="*/ 0 h 104400"/>
                <a:gd name="textAreaBottom" fmla="*/ 105120 h 10440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3" name="Freeform: Shape 16"/>
            <p:cNvSpPr/>
            <p:nvPr/>
          </p:nvSpPr>
          <p:spPr>
            <a:xfrm>
              <a:off x="829512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4" name="Freeform: Shape 17"/>
            <p:cNvSpPr/>
            <p:nvPr/>
          </p:nvSpPr>
          <p:spPr>
            <a:xfrm>
              <a:off x="8413560" y="599400"/>
              <a:ext cx="104400" cy="104760"/>
            </a:xfrm>
            <a:custGeom>
              <a:avLst/>
              <a:gdLst>
                <a:gd name="textAreaLeft" fmla="*/ 0 w 104400"/>
                <a:gd name="textAreaRight" fmla="*/ 105120 w 104400"/>
                <a:gd name="textAreaTop" fmla="*/ 0 h 104760"/>
                <a:gd name="textAreaBottom" fmla="*/ 105480 h 1047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5" name="Freeform: Shape 18"/>
            <p:cNvSpPr/>
            <p:nvPr/>
          </p:nvSpPr>
          <p:spPr>
            <a:xfrm>
              <a:off x="8202960" y="573120"/>
              <a:ext cx="78120" cy="131040"/>
            </a:xfrm>
            <a:custGeom>
              <a:avLst/>
              <a:gdLst>
                <a:gd name="textAreaLeft" fmla="*/ 0 w 78120"/>
                <a:gd name="textAreaRight" fmla="*/ 78840 w 78120"/>
                <a:gd name="textAreaTop" fmla="*/ 0 h 131040"/>
                <a:gd name="textAreaBottom" fmla="*/ 131760 h 13104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6" name="Freeform: Shape 19"/>
            <p:cNvSpPr/>
            <p:nvPr/>
          </p:nvSpPr>
          <p:spPr>
            <a:xfrm>
              <a:off x="8268840" y="559800"/>
              <a:ext cx="25920" cy="25920"/>
            </a:xfrm>
            <a:custGeom>
              <a:avLst/>
              <a:gdLst>
                <a:gd name="textAreaLeft" fmla="*/ 0 w 25920"/>
                <a:gd name="textAreaRight" fmla="*/ 26640 w 25920"/>
                <a:gd name="textAreaTop" fmla="*/ 0 h 25920"/>
                <a:gd name="textAreaBottom" fmla="*/ 26640 h 2592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-18360" bIns="-1836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137" name="Freeform: Shape 20"/>
            <p:cNvSpPr/>
            <p:nvPr/>
          </p:nvSpPr>
          <p:spPr>
            <a:xfrm>
              <a:off x="8229600" y="480960"/>
              <a:ext cx="209880" cy="132840"/>
            </a:xfrm>
            <a:custGeom>
              <a:avLst/>
              <a:gdLst>
                <a:gd name="textAreaLeft" fmla="*/ 0 w 209880"/>
                <a:gd name="textAreaRight" fmla="*/ 210600 w 209880"/>
                <a:gd name="textAreaTop" fmla="*/ 0 h 132840"/>
                <a:gd name="textAreaBottom" fmla="*/ 133560 h 13284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</a:pPr>
              <a:endParaRPr b="0" lang="en-US" sz="125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138" name="Graphic 20"/>
          <p:cNvSpPr/>
          <p:nvPr/>
        </p:nvSpPr>
        <p:spPr>
          <a:xfrm>
            <a:off x="204120" y="463680"/>
            <a:ext cx="292320" cy="292320"/>
          </a:xfrm>
          <a:custGeom>
            <a:avLst/>
            <a:gdLst>
              <a:gd name="textAreaLeft" fmla="*/ 0 w 292320"/>
              <a:gd name="textAreaRight" fmla="*/ 293040 w 292320"/>
              <a:gd name="textAreaTop" fmla="*/ 0 h 292320"/>
              <a:gd name="textAreaBottom" fmla="*/ 293040 h 29232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1"/>
          </a:solidFill>
          <a:ln w="5943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en-US" sz="1250" spc="-1" strike="noStrike">
              <a:solidFill>
                <a:schemeClr val="dk1"/>
              </a:solidFill>
              <a:latin typeface="PT Astra Fact"/>
            </a:endParaRPr>
          </a:p>
        </p:txBody>
      </p:sp>
      <p:sp>
        <p:nvSpPr>
          <p:cNvPr id="139" name="PlaceHolder 1"/>
          <p:cNvSpPr>
            <a:spLocks noGrp="1"/>
          </p:cNvSpPr>
          <p:nvPr>
            <p:ph type="ftr" idx="4"/>
          </p:nvPr>
        </p:nvSpPr>
        <p:spPr>
          <a:xfrm>
            <a:off x="588960" y="4758120"/>
            <a:ext cx="5747400" cy="17640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algn="l" pos="0"/>
              </a:tabLst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40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5" r:id="rId4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image" Target="../media/image2.png"/><Relationship Id="rId2" Type="http://schemas.openxmlformats.org/officeDocument/2006/relationships/image" Target="../media/image3.png"/><Relationship Id="rId3" Type="http://schemas.openxmlformats.org/officeDocument/2006/relationships/image" Target="../media/image4.png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image" Target="../media/image5.png"/><Relationship Id="rId2" Type="http://schemas.openxmlformats.org/officeDocument/2006/relationships/image" Target="../media/image6.svg"/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2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image" Target="../media/image7.png"/><Relationship Id="rId2" Type="http://schemas.openxmlformats.org/officeDocument/2006/relationships/image" Target="../media/image8.svg"/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6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7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8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hyperlink" Target="https://tantorlabs.ru/" TargetMode="External"/><Relationship Id="rId2" Type="http://schemas.openxmlformats.org/officeDocument/2006/relationships/hyperlink" Target="mailto:info@tantorlabs.ru" TargetMode="External"/><Relationship Id="rId3" Type="http://schemas.openxmlformats.org/officeDocument/2006/relationships/image" Target="../media/image9.png"/><Relationship Id="rId4" Type="http://schemas.openxmlformats.org/officeDocument/2006/relationships/slideLayout" Target="../slideLayouts/slideLayout2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PlaceHolder 1"/>
          <p:cNvSpPr>
            <a:spLocks noGrp="1"/>
          </p:cNvSpPr>
          <p:nvPr>
            <p:ph type="title"/>
          </p:nvPr>
        </p:nvSpPr>
        <p:spPr>
          <a:xfrm>
            <a:off x="433800" y="3514680"/>
            <a:ext cx="7190640" cy="8330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rmAutofit/>
          </a:bodyPr>
          <a:p>
            <a:pPr indent="0" defTabSz="812520">
              <a:lnSpc>
                <a:spcPct val="10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1" lang="ru-RU" sz="2860" spc="-1" strike="noStrike">
                <a:solidFill>
                  <a:srgbClr val="ffffff"/>
                </a:solidFill>
                <a:latin typeface="Arial"/>
                <a:ea typeface="DejaVu Sans"/>
              </a:rPr>
              <a:t>Отладка планировщика PostgreSQL</a:t>
            </a:r>
            <a:endParaRPr b="0" lang="ru-RU" sz="2860" spc="-1" strike="noStrike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259" name="Group 2"/>
          <p:cNvGrpSpPr/>
          <p:nvPr/>
        </p:nvGrpSpPr>
        <p:grpSpPr>
          <a:xfrm>
            <a:off x="433800" y="449640"/>
            <a:ext cx="1896120" cy="749880"/>
            <a:chOff x="433800" y="449640"/>
            <a:chExt cx="1896120" cy="749880"/>
          </a:xfrm>
        </p:grpSpPr>
        <p:sp>
          <p:nvSpPr>
            <p:cNvPr id="260" name="Freeform: Shape 12"/>
            <p:cNvSpPr/>
            <p:nvPr/>
          </p:nvSpPr>
          <p:spPr>
            <a:xfrm>
              <a:off x="1536840" y="758520"/>
              <a:ext cx="175680" cy="440640"/>
            </a:xfrm>
            <a:custGeom>
              <a:avLst/>
              <a:gdLst>
                <a:gd name="textAreaLeft" fmla="*/ 0 w 175680"/>
                <a:gd name="textAreaRight" fmla="*/ 176400 w 175680"/>
                <a:gd name="textAreaTop" fmla="*/ 0 h 440640"/>
                <a:gd name="textAreaBottom" fmla="*/ 441360 h 44064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1" name="Freeform: Shape 13"/>
            <p:cNvSpPr/>
            <p:nvPr/>
          </p:nvSpPr>
          <p:spPr>
            <a:xfrm>
              <a:off x="1757520" y="846720"/>
              <a:ext cx="352440" cy="352440"/>
            </a:xfrm>
            <a:custGeom>
              <a:avLst/>
              <a:gdLst>
                <a:gd name="textAreaLeft" fmla="*/ 0 w 352440"/>
                <a:gd name="textAreaRight" fmla="*/ 353160 w 352440"/>
                <a:gd name="textAreaTop" fmla="*/ 0 h 352440"/>
                <a:gd name="textAreaBottom" fmla="*/ 353160 h 35244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2" name="Freeform: Shape 14"/>
            <p:cNvSpPr/>
            <p:nvPr/>
          </p:nvSpPr>
          <p:spPr>
            <a:xfrm>
              <a:off x="2154240" y="847080"/>
              <a:ext cx="175680" cy="352080"/>
            </a:xfrm>
            <a:custGeom>
              <a:avLst/>
              <a:gdLst>
                <a:gd name="textAreaLeft" fmla="*/ 0 w 175680"/>
                <a:gd name="textAreaRight" fmla="*/ 176400 w 175680"/>
                <a:gd name="textAreaTop" fmla="*/ 0 h 352080"/>
                <a:gd name="textAreaBottom" fmla="*/ 352800 h 35208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3" name="Freeform: Shape 15"/>
            <p:cNvSpPr/>
            <p:nvPr/>
          </p:nvSpPr>
          <p:spPr>
            <a:xfrm>
              <a:off x="742680" y="846720"/>
              <a:ext cx="352080" cy="352440"/>
            </a:xfrm>
            <a:custGeom>
              <a:avLst/>
              <a:gdLst>
                <a:gd name="textAreaLeft" fmla="*/ 0 w 352080"/>
                <a:gd name="textAreaRight" fmla="*/ 352800 w 352080"/>
                <a:gd name="textAreaTop" fmla="*/ 0 h 352440"/>
                <a:gd name="textAreaBottom" fmla="*/ 353160 h 35244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4" name="Freeform: Shape 16"/>
            <p:cNvSpPr/>
            <p:nvPr/>
          </p:nvSpPr>
          <p:spPr>
            <a:xfrm>
              <a:off x="1139760" y="847080"/>
              <a:ext cx="352080" cy="352440"/>
            </a:xfrm>
            <a:custGeom>
              <a:avLst/>
              <a:gdLst>
                <a:gd name="textAreaLeft" fmla="*/ 0 w 352080"/>
                <a:gd name="textAreaRight" fmla="*/ 352800 w 352080"/>
                <a:gd name="textAreaTop" fmla="*/ 0 h 352440"/>
                <a:gd name="textAreaBottom" fmla="*/ 353160 h 35244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5" name="Freeform: Shape 17"/>
            <p:cNvSpPr/>
            <p:nvPr/>
          </p:nvSpPr>
          <p:spPr>
            <a:xfrm>
              <a:off x="433800" y="758520"/>
              <a:ext cx="263880" cy="440280"/>
            </a:xfrm>
            <a:custGeom>
              <a:avLst/>
              <a:gdLst>
                <a:gd name="textAreaLeft" fmla="*/ 0 w 263880"/>
                <a:gd name="textAreaRight" fmla="*/ 264600 w 263880"/>
                <a:gd name="textAreaTop" fmla="*/ 0 h 440280"/>
                <a:gd name="textAreaBottom" fmla="*/ 441000 h 44028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6" name="Freeform: Shape 18"/>
            <p:cNvSpPr/>
            <p:nvPr/>
          </p:nvSpPr>
          <p:spPr>
            <a:xfrm>
              <a:off x="654120" y="714240"/>
              <a:ext cx="88200" cy="88200"/>
            </a:xfrm>
            <a:custGeom>
              <a:avLst/>
              <a:gdLst>
                <a:gd name="textAreaLeft" fmla="*/ 0 w 88200"/>
                <a:gd name="textAreaRight" fmla="*/ 88920 w 88200"/>
                <a:gd name="textAreaTop" fmla="*/ 0 h 88200"/>
                <a:gd name="textAreaBottom" fmla="*/ 88920 h 8820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3920" bIns="4392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67" name="Freeform: Shape 19"/>
            <p:cNvSpPr/>
            <p:nvPr/>
          </p:nvSpPr>
          <p:spPr>
            <a:xfrm>
              <a:off x="522000" y="449640"/>
              <a:ext cx="705240" cy="446760"/>
            </a:xfrm>
            <a:custGeom>
              <a:avLst/>
              <a:gdLst>
                <a:gd name="textAreaLeft" fmla="*/ 0 w 705240"/>
                <a:gd name="textAreaRight" fmla="*/ 705960 w 705240"/>
                <a:gd name="textAreaTop" fmla="*/ 0 h 446760"/>
                <a:gd name="textAreaBottom" fmla="*/ 447480 h 44676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268" name="Graphic 9"/>
          <p:cNvSpPr/>
          <p:nvPr/>
        </p:nvSpPr>
        <p:spPr>
          <a:xfrm rot="16200000">
            <a:off x="1495800" y="603720"/>
            <a:ext cx="966960" cy="4348440"/>
          </a:xfrm>
          <a:custGeom>
            <a:avLst/>
            <a:gdLst>
              <a:gd name="textAreaLeft" fmla="*/ 0 w 966960"/>
              <a:gd name="textAreaRight" fmla="*/ 967680 w 966960"/>
              <a:gd name="textAreaTop" fmla="*/ 0 h 4348440"/>
              <a:gd name="textAreaBottom" fmla="*/ 4349160 h 4348440"/>
            </a:gdLst>
            <a:ahLst/>
            <a:rect l="textAreaLeft" t="textAreaTop" r="textAreaRight" b="textAreaBottom"/>
            <a:pathLst>
              <a:path w="619192" h="2783490">
                <a:moveTo>
                  <a:pt x="438055" y="2767584"/>
                </a:moveTo>
                <a:lnTo>
                  <a:pt x="602266" y="2613851"/>
                </a:lnTo>
                <a:cubicBezTo>
                  <a:pt x="618744" y="2598420"/>
                  <a:pt x="623792" y="2575179"/>
                  <a:pt x="614744" y="2554986"/>
                </a:cubicBezTo>
                <a:cubicBezTo>
                  <a:pt x="605790" y="2534793"/>
                  <a:pt x="584740" y="2521649"/>
                  <a:pt x="561404" y="2521649"/>
                </a:cubicBezTo>
                <a:lnTo>
                  <a:pt x="435102" y="2521649"/>
                </a:lnTo>
                <a:lnTo>
                  <a:pt x="433864" y="2209229"/>
                </a:lnTo>
                <a:cubicBezTo>
                  <a:pt x="433864" y="2209229"/>
                  <a:pt x="433864" y="2208657"/>
                  <a:pt x="433864" y="2208467"/>
                </a:cubicBezTo>
                <a:cubicBezTo>
                  <a:pt x="433864" y="2114360"/>
                  <a:pt x="352139" y="2037874"/>
                  <a:pt x="251746" y="2037874"/>
                </a:cubicBezTo>
                <a:lnTo>
                  <a:pt x="184976" y="2037874"/>
                </a:lnTo>
                <a:cubicBezTo>
                  <a:pt x="126968" y="2037874"/>
                  <a:pt x="79724" y="1993678"/>
                  <a:pt x="79724" y="1939290"/>
                </a:cubicBezTo>
                <a:cubicBezTo>
                  <a:pt x="79724" y="1884902"/>
                  <a:pt x="126968" y="1840706"/>
                  <a:pt x="184976" y="1840706"/>
                </a:cubicBezTo>
                <a:lnTo>
                  <a:pt x="251746" y="1840706"/>
                </a:lnTo>
                <a:cubicBezTo>
                  <a:pt x="352139" y="1840706"/>
                  <a:pt x="433864" y="1764221"/>
                  <a:pt x="433864" y="1670114"/>
                </a:cubicBezTo>
                <a:cubicBezTo>
                  <a:pt x="433864" y="1576007"/>
                  <a:pt x="352139" y="1499521"/>
                  <a:pt x="251746" y="1499521"/>
                </a:cubicBezTo>
                <a:lnTo>
                  <a:pt x="184976" y="1499521"/>
                </a:lnTo>
                <a:cubicBezTo>
                  <a:pt x="126968" y="1499521"/>
                  <a:pt x="79724" y="1455325"/>
                  <a:pt x="79724" y="1401032"/>
                </a:cubicBezTo>
                <a:cubicBezTo>
                  <a:pt x="79724" y="1399794"/>
                  <a:pt x="79915" y="1398651"/>
                  <a:pt x="79915" y="1397413"/>
                </a:cubicBezTo>
                <a:lnTo>
                  <a:pt x="79724" y="1397413"/>
                </a:lnTo>
                <a:cubicBezTo>
                  <a:pt x="79724" y="1343120"/>
                  <a:pt x="126968" y="1298829"/>
                  <a:pt x="184976" y="1298829"/>
                </a:cubicBezTo>
                <a:lnTo>
                  <a:pt x="251746" y="1298829"/>
                </a:lnTo>
                <a:cubicBezTo>
                  <a:pt x="352139" y="1298829"/>
                  <a:pt x="433864" y="1222343"/>
                  <a:pt x="433864" y="1128236"/>
                </a:cubicBezTo>
                <a:cubicBezTo>
                  <a:pt x="433864" y="1034129"/>
                  <a:pt x="352139" y="957644"/>
                  <a:pt x="251746" y="957644"/>
                </a:cubicBezTo>
                <a:lnTo>
                  <a:pt x="184976" y="957644"/>
                </a:lnTo>
                <a:cubicBezTo>
                  <a:pt x="126968" y="957644"/>
                  <a:pt x="79724" y="913448"/>
                  <a:pt x="79724" y="859155"/>
                </a:cubicBezTo>
                <a:cubicBezTo>
                  <a:pt x="79724" y="804863"/>
                  <a:pt x="126968" y="760571"/>
                  <a:pt x="184976" y="760571"/>
                </a:cubicBezTo>
                <a:lnTo>
                  <a:pt x="251746" y="760571"/>
                </a:lnTo>
                <a:cubicBezTo>
                  <a:pt x="352139" y="760571"/>
                  <a:pt x="433864" y="684086"/>
                  <a:pt x="433864" y="589979"/>
                </a:cubicBezTo>
                <a:cubicBezTo>
                  <a:pt x="433864" y="495872"/>
                  <a:pt x="352139" y="419386"/>
                  <a:pt x="251746" y="419386"/>
                </a:cubicBezTo>
                <a:lnTo>
                  <a:pt x="184976" y="419386"/>
                </a:lnTo>
                <a:cubicBezTo>
                  <a:pt x="126968" y="419386"/>
                  <a:pt x="80391" y="374999"/>
                  <a:pt x="80391" y="320707"/>
                </a:cubicBezTo>
                <a:lnTo>
                  <a:pt x="80391" y="312420"/>
                </a:lnTo>
                <a:lnTo>
                  <a:pt x="78296" y="35719"/>
                </a:lnTo>
                <a:cubicBezTo>
                  <a:pt x="78200" y="16002"/>
                  <a:pt x="60579" y="0"/>
                  <a:pt x="38957" y="0"/>
                </a:cubicBezTo>
                <a:cubicBezTo>
                  <a:pt x="17431" y="0"/>
                  <a:pt x="0" y="16193"/>
                  <a:pt x="0" y="36005"/>
                </a:cubicBezTo>
                <a:lnTo>
                  <a:pt x="0" y="36005"/>
                </a:lnTo>
                <a:cubicBezTo>
                  <a:pt x="0" y="36005"/>
                  <a:pt x="1143" y="312515"/>
                  <a:pt x="1143" y="312515"/>
                </a:cubicBezTo>
                <a:lnTo>
                  <a:pt x="1143" y="312515"/>
                </a:lnTo>
                <a:cubicBezTo>
                  <a:pt x="1048" y="314897"/>
                  <a:pt x="762" y="318611"/>
                  <a:pt x="762" y="320993"/>
                </a:cubicBezTo>
                <a:cubicBezTo>
                  <a:pt x="762" y="415100"/>
                  <a:pt x="84582" y="491585"/>
                  <a:pt x="185071" y="491585"/>
                </a:cubicBezTo>
                <a:lnTo>
                  <a:pt x="251841" y="491585"/>
                </a:lnTo>
                <a:cubicBezTo>
                  <a:pt x="309848" y="491585"/>
                  <a:pt x="357092" y="535781"/>
                  <a:pt x="357092" y="590169"/>
                </a:cubicBezTo>
                <a:cubicBezTo>
                  <a:pt x="357092" y="644557"/>
                  <a:pt x="309944" y="688753"/>
                  <a:pt x="251841" y="688753"/>
                </a:cubicBezTo>
                <a:lnTo>
                  <a:pt x="185071" y="688753"/>
                </a:lnTo>
                <a:cubicBezTo>
                  <a:pt x="84677" y="688753"/>
                  <a:pt x="2953" y="765238"/>
                  <a:pt x="2953" y="859346"/>
                </a:cubicBezTo>
                <a:cubicBezTo>
                  <a:pt x="2953" y="953453"/>
                  <a:pt x="84677" y="1029843"/>
                  <a:pt x="185071" y="1029843"/>
                </a:cubicBezTo>
                <a:lnTo>
                  <a:pt x="251841" y="1029843"/>
                </a:lnTo>
                <a:cubicBezTo>
                  <a:pt x="309848" y="1029843"/>
                  <a:pt x="357092" y="1074039"/>
                  <a:pt x="357092" y="1128427"/>
                </a:cubicBezTo>
                <a:cubicBezTo>
                  <a:pt x="357092" y="1182815"/>
                  <a:pt x="309944" y="1226915"/>
                  <a:pt x="251841" y="1226915"/>
                </a:cubicBezTo>
                <a:lnTo>
                  <a:pt x="185071" y="1226915"/>
                </a:lnTo>
                <a:cubicBezTo>
                  <a:pt x="84677" y="1226915"/>
                  <a:pt x="2953" y="1303401"/>
                  <a:pt x="2953" y="1397508"/>
                </a:cubicBezTo>
                <a:lnTo>
                  <a:pt x="3143" y="1397508"/>
                </a:lnTo>
                <a:cubicBezTo>
                  <a:pt x="3143" y="1398746"/>
                  <a:pt x="2953" y="1399889"/>
                  <a:pt x="2953" y="1401128"/>
                </a:cubicBezTo>
                <a:cubicBezTo>
                  <a:pt x="2953" y="1495139"/>
                  <a:pt x="84677" y="1571625"/>
                  <a:pt x="185071" y="1571625"/>
                </a:cubicBezTo>
                <a:lnTo>
                  <a:pt x="251841" y="1571625"/>
                </a:lnTo>
                <a:cubicBezTo>
                  <a:pt x="309848" y="1571625"/>
                  <a:pt x="357092" y="1615821"/>
                  <a:pt x="357092" y="1670209"/>
                </a:cubicBezTo>
                <a:cubicBezTo>
                  <a:pt x="357092" y="1724597"/>
                  <a:pt x="309944" y="1768793"/>
                  <a:pt x="251841" y="1768793"/>
                </a:cubicBezTo>
                <a:lnTo>
                  <a:pt x="185071" y="1768793"/>
                </a:lnTo>
                <a:cubicBezTo>
                  <a:pt x="84677" y="1768793"/>
                  <a:pt x="2953" y="1845278"/>
                  <a:pt x="2953" y="1939385"/>
                </a:cubicBezTo>
                <a:cubicBezTo>
                  <a:pt x="2953" y="2033492"/>
                  <a:pt x="84677" y="2109978"/>
                  <a:pt x="185071" y="2109978"/>
                </a:cubicBezTo>
                <a:lnTo>
                  <a:pt x="251841" y="2109978"/>
                </a:lnTo>
                <a:cubicBezTo>
                  <a:pt x="309848" y="2109978"/>
                  <a:pt x="357092" y="2154174"/>
                  <a:pt x="357092" y="2208562"/>
                </a:cubicBezTo>
                <a:cubicBezTo>
                  <a:pt x="357092" y="2208848"/>
                  <a:pt x="357092" y="2209133"/>
                  <a:pt x="357092" y="2209324"/>
                </a:cubicBezTo>
                <a:lnTo>
                  <a:pt x="358331" y="2521744"/>
                </a:lnTo>
                <a:lnTo>
                  <a:pt x="233267" y="2521744"/>
                </a:lnTo>
                <a:cubicBezTo>
                  <a:pt x="209931" y="2521744"/>
                  <a:pt x="188881" y="2534888"/>
                  <a:pt x="180023" y="2555081"/>
                </a:cubicBezTo>
                <a:cubicBezTo>
                  <a:pt x="177070" y="2561749"/>
                  <a:pt x="175641" y="2568797"/>
                  <a:pt x="175641" y="2575751"/>
                </a:cubicBezTo>
                <a:cubicBezTo>
                  <a:pt x="175641" y="2589848"/>
                  <a:pt x="181547" y="2603659"/>
                  <a:pt x="192500" y="2613946"/>
                </a:cubicBezTo>
                <a:lnTo>
                  <a:pt x="356711" y="2767679"/>
                </a:lnTo>
                <a:cubicBezTo>
                  <a:pt x="367570" y="2777776"/>
                  <a:pt x="382143" y="2783491"/>
                  <a:pt x="397478" y="2783491"/>
                </a:cubicBezTo>
                <a:cubicBezTo>
                  <a:pt x="412814" y="2783491"/>
                  <a:pt x="427482" y="2777776"/>
                  <a:pt x="438245" y="2767679"/>
                </a:cubicBezTo>
              </a:path>
            </a:pathLst>
          </a:custGeom>
          <a:solidFill>
            <a:srgbClr val="ec6626"/>
          </a:solidFill>
          <a:ln w="19727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lIns="81720" rIns="81720" tIns="40680" bIns="4068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940" spc="-1" strike="noStrike">
              <a:solidFill>
                <a:schemeClr val="dk1"/>
              </a:solidFill>
              <a:latin typeface="PT Astra Fact"/>
            </a:endParaRPr>
          </a:p>
        </p:txBody>
      </p:sp>
      <p:grpSp>
        <p:nvGrpSpPr>
          <p:cNvPr id="269" name="Group 21"/>
          <p:cNvGrpSpPr/>
          <p:nvPr/>
        </p:nvGrpSpPr>
        <p:grpSpPr>
          <a:xfrm>
            <a:off x="5159880" y="786240"/>
            <a:ext cx="3557520" cy="2584080"/>
            <a:chOff x="5159880" y="786240"/>
            <a:chExt cx="3557520" cy="2584080"/>
          </a:xfrm>
        </p:grpSpPr>
        <p:grpSp>
          <p:nvGrpSpPr>
            <p:cNvPr id="270" name="Group 1"/>
            <p:cNvGrpSpPr/>
            <p:nvPr/>
          </p:nvGrpSpPr>
          <p:grpSpPr>
            <a:xfrm>
              <a:off x="5159880" y="786240"/>
              <a:ext cx="3557520" cy="2584080"/>
              <a:chOff x="5159880" y="786240"/>
              <a:chExt cx="3557520" cy="2584080"/>
            </a:xfrm>
          </p:grpSpPr>
          <p:pic>
            <p:nvPicPr>
              <p:cNvPr id="271" name="Google Shape;116;p 1" descr=""/>
              <p:cNvPicPr/>
              <p:nvPr/>
            </p:nvPicPr>
            <p:blipFill>
              <a:blip r:embed="rId1"/>
              <a:stretch/>
            </p:blipFill>
            <p:spPr>
              <a:xfrm>
                <a:off x="5992920" y="786240"/>
                <a:ext cx="2096280" cy="2327040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272" name="Google Shape;116;p 2" descr=""/>
              <p:cNvPicPr/>
              <p:nvPr/>
            </p:nvPicPr>
            <p:blipFill>
              <a:blip r:embed="rId2"/>
              <a:stretch/>
            </p:blipFill>
            <p:spPr>
              <a:xfrm>
                <a:off x="5159880" y="1466280"/>
                <a:ext cx="1663200" cy="1846440"/>
              </a:xfrm>
              <a:prstGeom prst="rect">
                <a:avLst/>
              </a:prstGeom>
              <a:ln w="12700">
                <a:noFill/>
              </a:ln>
            </p:spPr>
          </p:pic>
          <p:pic>
            <p:nvPicPr>
              <p:cNvPr id="273" name="Google Shape;116;p 3" descr=""/>
              <p:cNvPicPr/>
              <p:nvPr/>
            </p:nvPicPr>
            <p:blipFill>
              <a:blip r:embed="rId3"/>
              <a:stretch/>
            </p:blipFill>
            <p:spPr>
              <a:xfrm>
                <a:off x="7279560" y="1774440"/>
                <a:ext cx="1437840" cy="1595880"/>
              </a:xfrm>
              <a:prstGeom prst="rect">
                <a:avLst/>
              </a:prstGeom>
              <a:ln w="12700">
                <a:noFill/>
              </a:ln>
            </p:spPr>
          </p:pic>
        </p:grpSp>
      </p:grpSp>
      <p:sp>
        <p:nvSpPr>
          <p:cNvPr id="274" name="TextBox 26"/>
          <p:cNvSpPr/>
          <p:nvPr/>
        </p:nvSpPr>
        <p:spPr>
          <a:xfrm>
            <a:off x="433800" y="4555440"/>
            <a:ext cx="4669560" cy="281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32040" rIns="32040" tIns="32040" bIns="32040" anchor="t">
            <a:spAutoFit/>
          </a:bodyPr>
          <a:p>
            <a:pPr defTabSz="1105560">
              <a:lnSpc>
                <a:spcPct val="100000"/>
              </a:lnSpc>
              <a:spcAft>
                <a:spcPts val="2679"/>
              </a:spcAft>
            </a:pPr>
            <a:r>
              <a:rPr b="0" lang="ru-RU" sz="1430" spc="-1" strike="noStrike">
                <a:solidFill>
                  <a:schemeClr val="accent2">
                    <a:lumMod val="40000"/>
                    <a:lumOff val="60000"/>
                  </a:schemeClr>
                </a:solidFill>
                <a:latin typeface="Arial"/>
                <a:ea typeface="DejaVu Sans"/>
              </a:rPr>
              <a:t>Сергей Соловьев, «Тантор Лабс»</a:t>
            </a:r>
            <a:endParaRPr b="0" lang="ru-RU" sz="1430" spc="-1" strike="noStrike">
              <a:solidFill>
                <a:srgbClr val="ffffff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760" cy="9453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Обработка запроса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76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729000" y="988920"/>
            <a:ext cx="7686360" cy="38858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PlaceHolder 1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760" cy="9453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Организация исходного кода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78" name="" descr=""/>
          <p:cNvPicPr/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/>
        </p:blipFill>
        <p:spPr>
          <a:xfrm>
            <a:off x="1322640" y="900000"/>
            <a:ext cx="6498720" cy="38617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PlaceHolder 1"/>
          <p:cNvSpPr>
            <a:spLocks noGrp="1"/>
          </p:cNvSpPr>
          <p:nvPr>
            <p:ph/>
          </p:nvPr>
        </p:nvSpPr>
        <p:spPr>
          <a:xfrm>
            <a:off x="588960" y="1265400"/>
            <a:ext cx="8179560" cy="3291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0" name="PlaceHolder 2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760" cy="9453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Узлы и деревья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PlaceHolder 1"/>
          <p:cNvSpPr>
            <a:spLocks noGrp="1"/>
          </p:cNvSpPr>
          <p:nvPr>
            <p:ph/>
          </p:nvPr>
        </p:nvSpPr>
        <p:spPr>
          <a:xfrm>
            <a:off x="588960" y="1265400"/>
            <a:ext cx="8179560" cy="3291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2" name="PlaceHolder 2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760" cy="9453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Структуры данных планировщика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PlaceHolder 1"/>
          <p:cNvSpPr>
            <a:spLocks noGrp="1"/>
          </p:cNvSpPr>
          <p:nvPr>
            <p:ph/>
          </p:nvPr>
        </p:nvSpPr>
        <p:spPr>
          <a:xfrm>
            <a:off x="588960" y="1265400"/>
            <a:ext cx="8179560" cy="3291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4" name="PlaceHolder 2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760" cy="9453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Constraint Exclusion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PlaceHolder 1"/>
          <p:cNvSpPr>
            <a:spLocks noGrp="1"/>
          </p:cNvSpPr>
          <p:nvPr>
            <p:ph/>
          </p:nvPr>
        </p:nvSpPr>
        <p:spPr>
          <a:xfrm>
            <a:off x="588960" y="1265400"/>
            <a:ext cx="8179560" cy="3291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6" name="PlaceHolder 2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760" cy="9453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Кодинг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PlaceHolder 1"/>
          <p:cNvSpPr>
            <a:spLocks noGrp="1"/>
          </p:cNvSpPr>
          <p:nvPr>
            <p:ph/>
          </p:nvPr>
        </p:nvSpPr>
        <p:spPr>
          <a:xfrm>
            <a:off x="588960" y="1265400"/>
            <a:ext cx="8179560" cy="329112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8" name="PlaceHolder 2"/>
          <p:cNvSpPr>
            <a:spLocks noGrp="1"/>
          </p:cNvSpPr>
          <p:nvPr>
            <p:ph type="title"/>
          </p:nvPr>
        </p:nvSpPr>
        <p:spPr>
          <a:xfrm>
            <a:off x="588960" y="137520"/>
            <a:ext cx="7133760" cy="945360"/>
          </a:xfrm>
          <a:prstGeom prst="rect">
            <a:avLst/>
          </a:prstGeom>
          <a:noFill/>
          <a:ln w="0">
            <a:noFill/>
          </a:ln>
        </p:spPr>
        <p:txBody>
          <a:bodyPr lIns="91440" rIns="91440" tIns="91440" bIns="91440" anchor="ctr">
            <a:normAutofit/>
          </a:bodyPr>
          <a:p>
            <a:pPr indent="0" defTabSz="812520">
              <a:lnSpc>
                <a:spcPct val="100000"/>
              </a:lnSpc>
              <a:buNone/>
              <a:tabLst>
                <a:tab algn="l" pos="0"/>
              </a:tabLst>
            </a:pPr>
            <a:r>
              <a:rPr b="1" lang="ru-RU" sz="2150" spc="-1" strike="noStrike">
                <a:solidFill>
                  <a:schemeClr val="dk1"/>
                </a:solidFill>
                <a:latin typeface="Arial"/>
              </a:rPr>
              <a:t>Лайвхаки</a:t>
            </a:r>
            <a:endParaRPr b="0" lang="ru-RU" sz="215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PlaceHolder 1"/>
          <p:cNvSpPr>
            <a:spLocks noGrp="1"/>
          </p:cNvSpPr>
          <p:nvPr>
            <p:ph type="title"/>
          </p:nvPr>
        </p:nvSpPr>
        <p:spPr>
          <a:xfrm>
            <a:off x="588960" y="506520"/>
            <a:ext cx="6888240" cy="90756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b">
            <a:normAutofit/>
          </a:bodyPr>
          <a:p>
            <a:pPr indent="0" defTabSz="812520">
              <a:lnSpc>
                <a:spcPct val="10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1" lang="ru-RU" sz="2500" spc="-1" strike="noStrike">
                <a:solidFill>
                  <a:schemeClr val="accent1"/>
                </a:solidFill>
                <a:latin typeface="PT Astra Fact"/>
              </a:rPr>
              <a:t>Спасибо за внимание</a:t>
            </a:r>
            <a:endParaRPr b="0" lang="ru-RU" sz="25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0" name="PlaceHolder 2"/>
          <p:cNvSpPr>
            <a:spLocks noGrp="1"/>
          </p:cNvSpPr>
          <p:nvPr>
            <p:ph/>
          </p:nvPr>
        </p:nvSpPr>
        <p:spPr>
          <a:xfrm>
            <a:off x="588960" y="2010960"/>
            <a:ext cx="6888240" cy="910440"/>
          </a:xfrm>
          <a:prstGeom prst="rect">
            <a:avLst/>
          </a:prstGeom>
          <a:noFill/>
          <a:ln w="0">
            <a:noFill/>
          </a:ln>
        </p:spPr>
        <p:txBody>
          <a:bodyPr lIns="36000" rIns="36000" tIns="36000" bIns="36000" anchor="t">
            <a:noAutofit/>
          </a:bodyPr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0" lang="en-US" sz="1070" spc="-1" strike="noStrike" u="sng">
                <a:solidFill>
                  <a:schemeClr val="dk1"/>
                </a:solidFill>
                <a:uFillTx/>
                <a:latin typeface="PT Astra Fact"/>
                <a:hlinkClick r:id="rId1"/>
              </a:rPr>
              <a:t>https://tantorlabs.ru/</a:t>
            </a:r>
            <a:r>
              <a:rPr b="0" lang="en-US" sz="1070" spc="-1" strike="noStrike">
                <a:solidFill>
                  <a:schemeClr val="dk1"/>
                </a:solidFill>
                <a:latin typeface="PT Astra Fact"/>
              </a:rPr>
              <a:t>   </a:t>
            </a: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0" lang="en-US" sz="1070" spc="-1" strike="noStrike" u="sng">
                <a:solidFill>
                  <a:schemeClr val="dk1"/>
                </a:solidFill>
                <a:uFillTx/>
                <a:latin typeface="PT Astra Fact"/>
                <a:hlinkClick r:id="rId2"/>
              </a:rPr>
              <a:t>info@tantorlabs.ru</a:t>
            </a: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  <a:p>
            <a:pPr indent="0" defTabSz="812520">
              <a:lnSpc>
                <a:spcPct val="110000"/>
              </a:lnSpc>
              <a:spcAft>
                <a:spcPts val="536"/>
              </a:spcAft>
              <a:buNone/>
              <a:tabLst>
                <a:tab algn="l" pos="0"/>
              </a:tabLst>
            </a:pPr>
            <a:r>
              <a:rPr b="0" lang="en-US" sz="1070" spc="-1" strike="noStrike">
                <a:solidFill>
                  <a:schemeClr val="dk1"/>
                </a:solidFill>
                <a:latin typeface="PT Astra Fact"/>
              </a:rPr>
              <a:t>TODO: проверить номер телефона</a:t>
            </a:r>
            <a:br>
              <a:rPr sz="1070"/>
            </a:br>
            <a:r>
              <a:rPr b="0" lang="en-US" sz="1070" spc="-1" strike="noStrike">
                <a:solidFill>
                  <a:schemeClr val="dk1"/>
                </a:solidFill>
                <a:latin typeface="PT Astra Fact"/>
              </a:rPr>
              <a:t>+7 495 787 51 78</a:t>
            </a:r>
            <a:endParaRPr b="0" lang="ru-RU" sz="107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91" name="Google Shape;556;p36" descr="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/>
          <a:srcRect l="19110" t="4590" r="0" b="11850"/>
          <a:stretch/>
        </p:blipFill>
        <p:spPr>
          <a:xfrm flipH="1">
            <a:off x="1663920" y="-8280"/>
            <a:ext cx="7480080" cy="5151240"/>
          </a:xfrm>
          <a:prstGeom prst="rect">
            <a:avLst/>
          </a:prstGeom>
          <a:ln w="12700">
            <a:noFill/>
          </a:ln>
        </p:spPr>
      </p:pic>
      <p:grpSp>
        <p:nvGrpSpPr>
          <p:cNvPr id="292" name="Group 6"/>
          <p:cNvGrpSpPr/>
          <p:nvPr/>
        </p:nvGrpSpPr>
        <p:grpSpPr>
          <a:xfrm>
            <a:off x="588960" y="4007160"/>
            <a:ext cx="1592280" cy="629280"/>
            <a:chOff x="588960" y="4007160"/>
            <a:chExt cx="1592280" cy="629280"/>
          </a:xfrm>
        </p:grpSpPr>
        <p:sp>
          <p:nvSpPr>
            <p:cNvPr id="293" name="Freeform: Shape 7"/>
            <p:cNvSpPr/>
            <p:nvPr/>
          </p:nvSpPr>
          <p:spPr>
            <a:xfrm>
              <a:off x="1515240" y="4266360"/>
              <a:ext cx="147600" cy="369720"/>
            </a:xfrm>
            <a:custGeom>
              <a:avLst/>
              <a:gdLst>
                <a:gd name="textAreaLeft" fmla="*/ 0 w 147600"/>
                <a:gd name="textAreaRight" fmla="*/ 148320 w 147600"/>
                <a:gd name="textAreaTop" fmla="*/ 0 h 369720"/>
                <a:gd name="textAreaBottom" fmla="*/ 370440 h 369720"/>
              </a:gdLst>
              <a:ahLst/>
              <a:rect l="textAreaLeft" t="textAreaTop" r="textAreaRight" b="textAreaBottom"/>
              <a:pathLst>
                <a:path w="245840" h="614552">
                  <a:moveTo>
                    <a:pt x="122873" y="0"/>
                  </a:moveTo>
                  <a:lnTo>
                    <a:pt x="0" y="0"/>
                  </a:lnTo>
                  <a:lnTo>
                    <a:pt x="0" y="368713"/>
                  </a:lnTo>
                  <a:cubicBezTo>
                    <a:pt x="0" y="504539"/>
                    <a:pt x="110014" y="614553"/>
                    <a:pt x="245840" y="614553"/>
                  </a:cubicBezTo>
                  <a:lnTo>
                    <a:pt x="245840" y="491776"/>
                  </a:lnTo>
                  <a:cubicBezTo>
                    <a:pt x="177832" y="491776"/>
                    <a:pt x="122968" y="436721"/>
                    <a:pt x="122968" y="368903"/>
                  </a:cubicBezTo>
                  <a:lnTo>
                    <a:pt x="122968" y="246031"/>
                  </a:lnTo>
                  <a:lnTo>
                    <a:pt x="245840" y="246031"/>
                  </a:lnTo>
                  <a:lnTo>
                    <a:pt x="245840" y="123158"/>
                  </a:lnTo>
                  <a:lnTo>
                    <a:pt x="122968" y="123158"/>
                  </a:lnTo>
                  <a:lnTo>
                    <a:pt x="122968" y="95"/>
                  </a:lnTo>
                  <a:close/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4" name="Freeform: Shape 8"/>
            <p:cNvSpPr/>
            <p:nvPr/>
          </p:nvSpPr>
          <p:spPr>
            <a:xfrm>
              <a:off x="1700280" y="4340520"/>
              <a:ext cx="295560" cy="295560"/>
            </a:xfrm>
            <a:custGeom>
              <a:avLst/>
              <a:gdLst>
                <a:gd name="textAreaLeft" fmla="*/ 0 w 295560"/>
                <a:gd name="textAreaRight" fmla="*/ 296280 w 295560"/>
                <a:gd name="textAreaTop" fmla="*/ 0 h 295560"/>
                <a:gd name="textAreaBottom" fmla="*/ 296280 h 295560"/>
              </a:gdLst>
              <a:ahLst/>
              <a:rect l="textAreaLeft" t="textAreaTop" r="textAreaRight" b="textAreaBottom"/>
              <a:pathLst>
                <a:path w="491680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381667" y="491681"/>
                    <a:pt x="491680" y="381667"/>
                    <a:pt x="491680" y="245840"/>
                  </a:cubicBezTo>
                  <a:cubicBezTo>
                    <a:pt x="491680" y="110014"/>
                    <a:pt x="381667" y="0"/>
                    <a:pt x="245840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5" name="Freeform: Shape 9"/>
            <p:cNvSpPr/>
            <p:nvPr/>
          </p:nvSpPr>
          <p:spPr>
            <a:xfrm>
              <a:off x="2033640" y="4340880"/>
              <a:ext cx="147600" cy="295560"/>
            </a:xfrm>
            <a:custGeom>
              <a:avLst/>
              <a:gdLst>
                <a:gd name="textAreaLeft" fmla="*/ 0 w 147600"/>
                <a:gd name="textAreaRight" fmla="*/ 148320 w 147600"/>
                <a:gd name="textAreaTop" fmla="*/ 0 h 295560"/>
                <a:gd name="textAreaBottom" fmla="*/ 296280 h 295560"/>
              </a:gdLst>
              <a:ahLst/>
              <a:rect l="textAreaLeft" t="textAreaTop" r="textAreaRight" b="textAreaBottom"/>
              <a:pathLst>
                <a:path w="245840" h="491585">
                  <a:moveTo>
                    <a:pt x="95" y="245745"/>
                  </a:moveTo>
                  <a:lnTo>
                    <a:pt x="95" y="491585"/>
                  </a:lnTo>
                  <a:lnTo>
                    <a:pt x="122968" y="491585"/>
                  </a:lnTo>
                  <a:lnTo>
                    <a:pt x="122968" y="245745"/>
                  </a:lnTo>
                  <a:cubicBezTo>
                    <a:pt x="122968" y="177927"/>
                    <a:pt x="177927" y="122873"/>
                    <a:pt x="245840" y="122873"/>
                  </a:cubicBezTo>
                  <a:lnTo>
                    <a:pt x="245840" y="0"/>
                  </a:lnTo>
                  <a:cubicBezTo>
                    <a:pt x="110014" y="0"/>
                    <a:pt x="0" y="110014"/>
                    <a:pt x="0" y="24584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6" name="Freeform: Shape 10"/>
            <p:cNvSpPr/>
            <p:nvPr/>
          </p:nvSpPr>
          <p:spPr>
            <a:xfrm>
              <a:off x="848160" y="4340520"/>
              <a:ext cx="295560" cy="295560"/>
            </a:xfrm>
            <a:custGeom>
              <a:avLst/>
              <a:gdLst>
                <a:gd name="textAreaLeft" fmla="*/ 0 w 295560"/>
                <a:gd name="textAreaRight" fmla="*/ 296280 w 295560"/>
                <a:gd name="textAreaTop" fmla="*/ 0 h 295560"/>
                <a:gd name="textAreaBottom" fmla="*/ 296280 h 2955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368713"/>
                  </a:moveTo>
                  <a:cubicBezTo>
                    <a:pt x="178022" y="368713"/>
                    <a:pt x="122968" y="313658"/>
                    <a:pt x="122968" y="245840"/>
                  </a:cubicBezTo>
                  <a:cubicBezTo>
                    <a:pt x="122968" y="178022"/>
                    <a:pt x="178022" y="122968"/>
                    <a:pt x="245840" y="122968"/>
                  </a:cubicBezTo>
                  <a:cubicBezTo>
                    <a:pt x="313658" y="122968"/>
                    <a:pt x="368713" y="178022"/>
                    <a:pt x="368713" y="245840"/>
                  </a:cubicBezTo>
                  <a:cubicBezTo>
                    <a:pt x="368713" y="313658"/>
                    <a:pt x="313658" y="368713"/>
                    <a:pt x="245840" y="368713"/>
                  </a:cubicBezTo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cubicBezTo>
                    <a:pt x="0" y="381667"/>
                    <a:pt x="110014" y="491681"/>
                    <a:pt x="245840" y="491681"/>
                  </a:cubicBezTo>
                  <a:cubicBezTo>
                    <a:pt x="290703" y="491681"/>
                    <a:pt x="332613" y="479489"/>
                    <a:pt x="368713" y="458533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109"/>
                    <a:pt x="381572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7" name="Freeform: Shape 11"/>
            <p:cNvSpPr/>
            <p:nvPr/>
          </p:nvSpPr>
          <p:spPr>
            <a:xfrm>
              <a:off x="1181520" y="4340880"/>
              <a:ext cx="295560" cy="295560"/>
            </a:xfrm>
            <a:custGeom>
              <a:avLst/>
              <a:gdLst>
                <a:gd name="textAreaLeft" fmla="*/ 0 w 295560"/>
                <a:gd name="textAreaRight" fmla="*/ 296280 w 295560"/>
                <a:gd name="textAreaTop" fmla="*/ 0 h 295560"/>
                <a:gd name="textAreaBottom" fmla="*/ 296280 h 295560"/>
              </a:gdLst>
              <a:ahLst/>
              <a:rect l="textAreaLeft" t="textAreaTop" r="textAreaRight" b="textAreaBottom"/>
              <a:pathLst>
                <a:path w="491585" h="491680">
                  <a:moveTo>
                    <a:pt x="245840" y="0"/>
                  </a:moveTo>
                  <a:cubicBezTo>
                    <a:pt x="110014" y="0"/>
                    <a:pt x="0" y="110014"/>
                    <a:pt x="0" y="245840"/>
                  </a:cubicBezTo>
                  <a:lnTo>
                    <a:pt x="0" y="491681"/>
                  </a:lnTo>
                  <a:lnTo>
                    <a:pt x="122872" y="491681"/>
                  </a:lnTo>
                  <a:lnTo>
                    <a:pt x="122872" y="245840"/>
                  </a:lnTo>
                  <a:cubicBezTo>
                    <a:pt x="122872" y="178022"/>
                    <a:pt x="177832" y="122968"/>
                    <a:pt x="245840" y="122968"/>
                  </a:cubicBezTo>
                  <a:cubicBezTo>
                    <a:pt x="313849" y="122968"/>
                    <a:pt x="368713" y="178022"/>
                    <a:pt x="368713" y="245840"/>
                  </a:cubicBezTo>
                  <a:lnTo>
                    <a:pt x="368713" y="491681"/>
                  </a:lnTo>
                  <a:lnTo>
                    <a:pt x="491585" y="491681"/>
                  </a:lnTo>
                  <a:lnTo>
                    <a:pt x="491585" y="245840"/>
                  </a:lnTo>
                  <a:cubicBezTo>
                    <a:pt x="491585" y="110014"/>
                    <a:pt x="381476" y="0"/>
                    <a:pt x="245745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8" name="Freeform: Shape 12"/>
            <p:cNvSpPr/>
            <p:nvPr/>
          </p:nvSpPr>
          <p:spPr>
            <a:xfrm>
              <a:off x="588960" y="4266720"/>
              <a:ext cx="221400" cy="369720"/>
            </a:xfrm>
            <a:custGeom>
              <a:avLst/>
              <a:gdLst>
                <a:gd name="textAreaLeft" fmla="*/ 0 w 221400"/>
                <a:gd name="textAreaRight" fmla="*/ 222120 w 221400"/>
                <a:gd name="textAreaTop" fmla="*/ 0 h 369720"/>
                <a:gd name="textAreaBottom" fmla="*/ 370440 h 369720"/>
              </a:gdLst>
              <a:ahLst/>
              <a:rect l="textAreaLeft" t="textAreaTop" r="textAreaRight" b="textAreaBottom"/>
              <a:pathLst>
                <a:path w="368712" h="614457">
                  <a:moveTo>
                    <a:pt x="184404" y="0"/>
                  </a:moveTo>
                  <a:lnTo>
                    <a:pt x="122968" y="0"/>
                  </a:lnTo>
                  <a:lnTo>
                    <a:pt x="122968" y="122873"/>
                  </a:lnTo>
                  <a:lnTo>
                    <a:pt x="0" y="122873"/>
                  </a:lnTo>
                  <a:cubicBezTo>
                    <a:pt x="0" y="156782"/>
                    <a:pt x="13716" y="187547"/>
                    <a:pt x="36005" y="209741"/>
                  </a:cubicBezTo>
                  <a:cubicBezTo>
                    <a:pt x="58293" y="232029"/>
                    <a:pt x="88964" y="245745"/>
                    <a:pt x="122873" y="245745"/>
                  </a:cubicBezTo>
                  <a:lnTo>
                    <a:pt x="122873" y="368618"/>
                  </a:lnTo>
                  <a:cubicBezTo>
                    <a:pt x="122873" y="504444"/>
                    <a:pt x="232886" y="614458"/>
                    <a:pt x="368713" y="614458"/>
                  </a:cubicBezTo>
                  <a:lnTo>
                    <a:pt x="368713" y="491585"/>
                  </a:lnTo>
                  <a:cubicBezTo>
                    <a:pt x="300704" y="491585"/>
                    <a:pt x="245840" y="436531"/>
                    <a:pt x="245840" y="368713"/>
                  </a:cubicBezTo>
                  <a:lnTo>
                    <a:pt x="245840" y="245840"/>
                  </a:lnTo>
                  <a:lnTo>
                    <a:pt x="368713" y="245840"/>
                  </a:lnTo>
                  <a:lnTo>
                    <a:pt x="368713" y="184404"/>
                  </a:lnTo>
                  <a:cubicBezTo>
                    <a:pt x="266986" y="184404"/>
                    <a:pt x="184309" y="101822"/>
                    <a:pt x="184309" y="0"/>
                  </a:cubicBezTo>
                </a:path>
              </a:pathLst>
            </a:custGeom>
            <a:solidFill>
              <a:srgbClr val="cc3b03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299" name="Freeform: Shape 13"/>
            <p:cNvSpPr/>
            <p:nvPr/>
          </p:nvSpPr>
          <p:spPr>
            <a:xfrm>
              <a:off x="774000" y="4229280"/>
              <a:ext cx="73800" cy="73800"/>
            </a:xfrm>
            <a:custGeom>
              <a:avLst/>
              <a:gdLst>
                <a:gd name="textAreaLeft" fmla="*/ 0 w 73800"/>
                <a:gd name="textAreaRight" fmla="*/ 74520 w 73800"/>
                <a:gd name="textAreaTop" fmla="*/ 0 h 73800"/>
                <a:gd name="textAreaBottom" fmla="*/ 74520 h 73800"/>
              </a:gdLst>
              <a:ahLst/>
              <a:rect l="textAreaLeft" t="textAreaTop" r="textAreaRight" b="textAreaBottom"/>
              <a:pathLst>
                <a:path w="123825" h="123825">
                  <a:moveTo>
                    <a:pt x="61913" y="0"/>
                  </a:moveTo>
                  <a:cubicBezTo>
                    <a:pt x="27718" y="0"/>
                    <a:pt x="0" y="27623"/>
                    <a:pt x="0" y="61913"/>
                  </a:cubicBezTo>
                  <a:cubicBezTo>
                    <a:pt x="0" y="96202"/>
                    <a:pt x="27623" y="123825"/>
                    <a:pt x="61913" y="123825"/>
                  </a:cubicBezTo>
                  <a:cubicBezTo>
                    <a:pt x="96203" y="123825"/>
                    <a:pt x="123825" y="96202"/>
                    <a:pt x="123825" y="61913"/>
                  </a:cubicBezTo>
                  <a:cubicBezTo>
                    <a:pt x="123825" y="27623"/>
                    <a:pt x="96012" y="0"/>
                    <a:pt x="61913" y="0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29520" bIns="2952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  <p:sp>
          <p:nvSpPr>
            <p:cNvPr id="300" name="Freeform: Shape 14"/>
            <p:cNvSpPr/>
            <p:nvPr/>
          </p:nvSpPr>
          <p:spPr>
            <a:xfrm>
              <a:off x="663120" y="4007160"/>
              <a:ext cx="591840" cy="375120"/>
            </a:xfrm>
            <a:custGeom>
              <a:avLst/>
              <a:gdLst>
                <a:gd name="textAreaLeft" fmla="*/ 0 w 591840"/>
                <a:gd name="textAreaRight" fmla="*/ 592560 w 591840"/>
                <a:gd name="textAreaTop" fmla="*/ 0 h 375120"/>
                <a:gd name="textAreaBottom" fmla="*/ 375840 h 375120"/>
              </a:gdLst>
              <a:ahLst/>
              <a:rect l="textAreaLeft" t="textAreaTop" r="textAreaRight" b="textAreaBottom"/>
              <a:pathLst>
                <a:path w="983265" h="623220">
                  <a:moveTo>
                    <a:pt x="983266" y="184404"/>
                  </a:moveTo>
                  <a:lnTo>
                    <a:pt x="983266" y="308134"/>
                  </a:lnTo>
                  <a:cubicBezTo>
                    <a:pt x="983266" y="311563"/>
                    <a:pt x="982980" y="315182"/>
                    <a:pt x="982980" y="318611"/>
                  </a:cubicBezTo>
                  <a:cubicBezTo>
                    <a:pt x="982885" y="321564"/>
                    <a:pt x="982885" y="324612"/>
                    <a:pt x="982599" y="327565"/>
                  </a:cubicBezTo>
                  <a:cubicBezTo>
                    <a:pt x="982313" y="331946"/>
                    <a:pt x="981932" y="336423"/>
                    <a:pt x="981647" y="340805"/>
                  </a:cubicBezTo>
                  <a:cubicBezTo>
                    <a:pt x="981551" y="342995"/>
                    <a:pt x="981266" y="345186"/>
                    <a:pt x="980980" y="347472"/>
                  </a:cubicBezTo>
                  <a:cubicBezTo>
                    <a:pt x="980504" y="352139"/>
                    <a:pt x="979837" y="356902"/>
                    <a:pt x="979265" y="361569"/>
                  </a:cubicBezTo>
                  <a:cubicBezTo>
                    <a:pt x="979075" y="363188"/>
                    <a:pt x="978789" y="364617"/>
                    <a:pt x="978503" y="366236"/>
                  </a:cubicBezTo>
                  <a:cubicBezTo>
                    <a:pt x="977646" y="371380"/>
                    <a:pt x="976789" y="376523"/>
                    <a:pt x="975646" y="381762"/>
                  </a:cubicBezTo>
                  <a:cubicBezTo>
                    <a:pt x="975646" y="382048"/>
                    <a:pt x="975551" y="382334"/>
                    <a:pt x="975551" y="382715"/>
                  </a:cubicBezTo>
                  <a:cubicBezTo>
                    <a:pt x="956596" y="474631"/>
                    <a:pt x="903637" y="554069"/>
                    <a:pt x="830199" y="607028"/>
                  </a:cubicBezTo>
                  <a:cubicBezTo>
                    <a:pt x="830199" y="606933"/>
                    <a:pt x="830104" y="606743"/>
                    <a:pt x="830104" y="606647"/>
                  </a:cubicBezTo>
                  <a:cubicBezTo>
                    <a:pt x="822008" y="612458"/>
                    <a:pt x="813626" y="617982"/>
                    <a:pt x="805148" y="623221"/>
                  </a:cubicBezTo>
                  <a:cubicBezTo>
                    <a:pt x="780098" y="587121"/>
                    <a:pt x="747522" y="556736"/>
                    <a:pt x="709517" y="534353"/>
                  </a:cubicBezTo>
                  <a:cubicBezTo>
                    <a:pt x="790670" y="500444"/>
                    <a:pt x="849630" y="424148"/>
                    <a:pt x="858965" y="333185"/>
                  </a:cubicBezTo>
                  <a:cubicBezTo>
                    <a:pt x="858965" y="332804"/>
                    <a:pt x="859060" y="332518"/>
                    <a:pt x="859060" y="332232"/>
                  </a:cubicBezTo>
                  <a:cubicBezTo>
                    <a:pt x="859822" y="324136"/>
                    <a:pt x="860298" y="316040"/>
                    <a:pt x="860298" y="307658"/>
                  </a:cubicBezTo>
                  <a:cubicBezTo>
                    <a:pt x="860298" y="298704"/>
                    <a:pt x="859822" y="184404"/>
                    <a:pt x="859822" y="184404"/>
                  </a:cubicBezTo>
                  <a:cubicBezTo>
                    <a:pt x="859822" y="150686"/>
                    <a:pt x="832580" y="123444"/>
                    <a:pt x="798862" y="123444"/>
                  </a:cubicBezTo>
                  <a:lnTo>
                    <a:pt x="383096" y="123444"/>
                  </a:lnTo>
                  <a:cubicBezTo>
                    <a:pt x="381762" y="123349"/>
                    <a:pt x="380524" y="123158"/>
                    <a:pt x="379190" y="123158"/>
                  </a:cubicBezTo>
                  <a:cubicBezTo>
                    <a:pt x="375761" y="123063"/>
                    <a:pt x="372142" y="122873"/>
                    <a:pt x="368713" y="122873"/>
                  </a:cubicBezTo>
                  <a:cubicBezTo>
                    <a:pt x="232886" y="122873"/>
                    <a:pt x="122873" y="232886"/>
                    <a:pt x="122873" y="368713"/>
                  </a:cubicBezTo>
                  <a:lnTo>
                    <a:pt x="0" y="368713"/>
                  </a:lnTo>
                  <a:cubicBezTo>
                    <a:pt x="-95" y="165068"/>
                    <a:pt x="164973" y="0"/>
                    <a:pt x="368713" y="0"/>
                  </a:cubicBezTo>
                  <a:lnTo>
                    <a:pt x="798862" y="0"/>
                  </a:lnTo>
                  <a:cubicBezTo>
                    <a:pt x="900589" y="0"/>
                    <a:pt x="983266" y="82582"/>
                    <a:pt x="983266" y="184404"/>
                  </a:cubicBezTo>
                </a:path>
              </a:pathLst>
            </a:custGeom>
            <a:solidFill>
              <a:srgbClr val="f26621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lIns="90000" rIns="90000" tIns="45000" bIns="45000" anchor="ctr">
              <a:noAutofit/>
            </a:bodyPr>
            <a:p>
              <a:pPr defTabSz="1105560">
                <a:lnSpc>
                  <a:spcPct val="100000"/>
                </a:lnSpc>
              </a:pPr>
              <a:endParaRPr b="0" lang="en-US" sz="1940" spc="-1" strike="noStrike">
                <a:solidFill>
                  <a:schemeClr val="dk1"/>
                </a:solidFill>
                <a:latin typeface="PT Astra Fact"/>
              </a:endParaRPr>
            </a:p>
          </p:txBody>
        </p:sp>
      </p:grpSp>
      <p:sp>
        <p:nvSpPr>
          <p:cNvPr id="301" name="Graphic 20"/>
          <p:cNvSpPr/>
          <p:nvPr/>
        </p:nvSpPr>
        <p:spPr>
          <a:xfrm>
            <a:off x="3782160" y="181080"/>
            <a:ext cx="1223280" cy="1223280"/>
          </a:xfrm>
          <a:custGeom>
            <a:avLst/>
            <a:gdLst>
              <a:gd name="textAreaLeft" fmla="*/ 0 w 1223280"/>
              <a:gd name="textAreaRight" fmla="*/ 1224000 w 1223280"/>
              <a:gd name="textAreaTop" fmla="*/ 0 h 1223280"/>
              <a:gd name="textAreaBottom" fmla="*/ 1224000 h 1223280"/>
            </a:gdLst>
            <a:ahLst/>
            <a:rect l="textAreaLeft" t="textAreaTop" r="textAreaRight" b="textAreaBottom"/>
            <a:pathLst>
              <a:path w="5759450" h="5759450">
                <a:moveTo>
                  <a:pt x="5413229" y="2533504"/>
                </a:moveTo>
                <a:lnTo>
                  <a:pt x="3715559" y="2533504"/>
                </a:lnTo>
                <a:lnTo>
                  <a:pt x="4916000" y="1333063"/>
                </a:lnTo>
                <a:cubicBezTo>
                  <a:pt x="5051240" y="1197882"/>
                  <a:pt x="5051240" y="978631"/>
                  <a:pt x="4916000" y="843450"/>
                </a:cubicBezTo>
                <a:cubicBezTo>
                  <a:pt x="4780820" y="708270"/>
                  <a:pt x="4561568" y="708270"/>
                  <a:pt x="4426388" y="843450"/>
                </a:cubicBezTo>
                <a:lnTo>
                  <a:pt x="3225947" y="2043891"/>
                </a:lnTo>
                <a:lnTo>
                  <a:pt x="3225947" y="346221"/>
                </a:lnTo>
                <a:cubicBezTo>
                  <a:pt x="3225947" y="154993"/>
                  <a:pt x="3070953" y="0"/>
                  <a:pt x="2879725" y="0"/>
                </a:cubicBezTo>
                <a:lnTo>
                  <a:pt x="2879725" y="0"/>
                </a:lnTo>
                <a:cubicBezTo>
                  <a:pt x="2688497" y="0"/>
                  <a:pt x="2533504" y="154993"/>
                  <a:pt x="2533504" y="346221"/>
                </a:cubicBezTo>
                <a:lnTo>
                  <a:pt x="2533504" y="2043891"/>
                </a:lnTo>
                <a:lnTo>
                  <a:pt x="1333063" y="843450"/>
                </a:lnTo>
                <a:cubicBezTo>
                  <a:pt x="1197882" y="708270"/>
                  <a:pt x="978631" y="708270"/>
                  <a:pt x="843450" y="843450"/>
                </a:cubicBezTo>
                <a:cubicBezTo>
                  <a:pt x="708210" y="978631"/>
                  <a:pt x="708210" y="1197882"/>
                  <a:pt x="843450" y="1333063"/>
                </a:cubicBezTo>
                <a:lnTo>
                  <a:pt x="2043891" y="2533504"/>
                </a:lnTo>
                <a:lnTo>
                  <a:pt x="346221" y="2533504"/>
                </a:lnTo>
                <a:cubicBezTo>
                  <a:pt x="154993" y="2533504"/>
                  <a:pt x="0" y="2688497"/>
                  <a:pt x="0" y="2879725"/>
                </a:cubicBezTo>
                <a:cubicBezTo>
                  <a:pt x="0" y="3070953"/>
                  <a:pt x="154993" y="3225947"/>
                  <a:pt x="346221" y="3225947"/>
                </a:cubicBezTo>
                <a:lnTo>
                  <a:pt x="2043891" y="3225947"/>
                </a:lnTo>
                <a:lnTo>
                  <a:pt x="843450" y="4426388"/>
                </a:lnTo>
                <a:cubicBezTo>
                  <a:pt x="708210" y="4561627"/>
                  <a:pt x="708210" y="4780820"/>
                  <a:pt x="843450" y="4916000"/>
                </a:cubicBezTo>
                <a:lnTo>
                  <a:pt x="843450" y="4916000"/>
                </a:lnTo>
                <a:cubicBezTo>
                  <a:pt x="978631" y="5051240"/>
                  <a:pt x="1197882" y="5051240"/>
                  <a:pt x="1333063" y="4916000"/>
                </a:cubicBezTo>
                <a:lnTo>
                  <a:pt x="2533504" y="3715559"/>
                </a:lnTo>
                <a:lnTo>
                  <a:pt x="2533504" y="5413229"/>
                </a:lnTo>
                <a:cubicBezTo>
                  <a:pt x="2533504" y="5604457"/>
                  <a:pt x="2688497" y="5759450"/>
                  <a:pt x="2879725" y="5759450"/>
                </a:cubicBezTo>
                <a:lnTo>
                  <a:pt x="2879725" y="5759450"/>
                </a:lnTo>
                <a:cubicBezTo>
                  <a:pt x="3070953" y="5759450"/>
                  <a:pt x="3225947" y="5604457"/>
                  <a:pt x="3225947" y="5413229"/>
                </a:cubicBezTo>
                <a:lnTo>
                  <a:pt x="3225947" y="3715559"/>
                </a:lnTo>
                <a:lnTo>
                  <a:pt x="4426388" y="4916000"/>
                </a:lnTo>
                <a:cubicBezTo>
                  <a:pt x="4561568" y="5051181"/>
                  <a:pt x="4780820" y="5051181"/>
                  <a:pt x="4916000" y="4916000"/>
                </a:cubicBezTo>
                <a:lnTo>
                  <a:pt x="4916000" y="4916000"/>
                </a:lnTo>
                <a:cubicBezTo>
                  <a:pt x="5051240" y="4780760"/>
                  <a:pt x="5051240" y="4561568"/>
                  <a:pt x="4916000" y="4426388"/>
                </a:cubicBezTo>
                <a:lnTo>
                  <a:pt x="3715559" y="3225947"/>
                </a:lnTo>
                <a:lnTo>
                  <a:pt x="5413229" y="3225947"/>
                </a:lnTo>
                <a:cubicBezTo>
                  <a:pt x="5604457" y="3225947"/>
                  <a:pt x="5759450" y="3070953"/>
                  <a:pt x="5759450" y="2879725"/>
                </a:cubicBezTo>
                <a:cubicBezTo>
                  <a:pt x="5759450" y="2688497"/>
                  <a:pt x="5604457" y="2533504"/>
                  <a:pt x="5413229" y="2533504"/>
                </a:cubicBezTo>
              </a:path>
            </a:pathLst>
          </a:custGeom>
          <a:solidFill>
            <a:schemeClr val="accent2">
              <a:alpha val="14000"/>
            </a:schemeClr>
          </a:solidFill>
          <a:ln w="19727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lIns="81720" rIns="81720" tIns="40680" bIns="40680" anchor="ctr">
            <a:noAutofit/>
          </a:bodyPr>
          <a:p>
            <a:pPr defTabSz="1105560">
              <a:lnSpc>
                <a:spcPct val="100000"/>
              </a:lnSpc>
            </a:pPr>
            <a:endParaRPr b="0" lang="en-US" sz="1940" spc="-1" strike="noStrike">
              <a:solidFill>
                <a:schemeClr val="dk1"/>
              </a:solidFill>
              <a:latin typeface="PT Astra Fact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0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1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2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3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4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5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6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17.xml><?xml version="1.0" encoding="utf-8"?>
<a:theme xmlns:a="http://schemas.openxmlformats.org/drawingml/2006/main" xmlns:r="http://schemas.openxmlformats.org/officeDocument/2006/relationships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 pitchFamily="0" charset="1"/>
        <a:ea typeface="DejaVu Sans" pitchFamily="0" charset="1"/>
        <a:cs typeface="DejaVu Sans" pitchFamily="0" charset="1"/>
      </a:majorFont>
      <a:minorFont>
        <a:latin typeface="Arial" pitchFamily="0" charset="1"/>
        <a:ea typeface="DejaVu Sans" pitchFamily="0" charset="1"/>
        <a:cs typeface="DejaVu Sans" pitchFamily="0" charset="1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4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5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6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7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8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ppt/theme/theme9.xml><?xml version="1.0" encoding="utf-8"?>
<a:theme xmlns:a="http://schemas.openxmlformats.org/drawingml/2006/main" xmlns:r="http://schemas.openxmlformats.org/officeDocument/2006/relationships" name="WF_theme">
  <a:themeElements>
    <a:clrScheme name="Custom 2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cc3b03"/>
      </a:accent1>
      <a:accent2>
        <a:srgbClr val="ec6626"/>
      </a:accent2>
      <a:accent3>
        <a:srgbClr val="96bacc"/>
      </a:accent3>
      <a:accent4>
        <a:srgbClr val="4abfbf"/>
      </a:accent4>
      <a:accent5>
        <a:srgbClr val="ffc700"/>
      </a:accent5>
      <a:accent6>
        <a:srgbClr val="ec6385"/>
      </a:accent6>
      <a:hlink>
        <a:srgbClr val="45a0d9"/>
      </a:hlink>
      <a:folHlink>
        <a:srgbClr val="0063a6"/>
      </a:folHlink>
    </a:clrScheme>
    <a:fontScheme name="RuPost">
      <a:majorFont>
        <a:latin typeface="PT Astra Fact" pitchFamily="0" charset="1"/>
        <a:ea typeface=""/>
        <a:cs typeface=""/>
      </a:majorFont>
      <a:minorFont>
        <a:latin typeface="PT Astra Fact" pitchFamily="0" charset="1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 l="0" t="0" r="0" b="0"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 l="0" t="0" r="0" b="0"/>
        </a:gradFill>
      </a:fillStyleLst>
      <a:lnStyleLst>
        <a:ln w="9525" cap="flat" cmpd="sng" algn="ctr">
          <a:prstDash val="solid"/>
        </a:ln>
        <a:ln w="25400" cap="flat" cmpd="sng" algn="ctr">
          <a:prstDash val="solid"/>
        </a:ln>
        <a:ln w="38100" cap="flat" cmpd="sng" algn="ctr"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 l="0" t="0" r="0" b="0"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 l="0" t="0" r="0" b="0"/>
        </a:gra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>П1-МК2 - Виноградов - Эффективная работа с psql</Template>
  <TotalTime>114</TotalTime>
  <Application>LibreOffice/24.2.5.2$Linux_X86_64 LibreOffice_project/420$Build-2</Application>
  <AppVersion>15.0000</AppVersion>
  <Words>5084</Words>
  <Paragraphs>456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S B</dc:creator>
  <dc:description/>
  <dc:language>ru-RU</dc:language>
  <cp:lastModifiedBy/>
  <cp:lastPrinted>2024-08-23T19:36:18Z</cp:lastPrinted>
  <dcterms:modified xsi:type="dcterms:W3CDTF">2024-08-23T21:20:24Z</dcterms:modified>
  <cp:revision>10</cp:revision>
  <dc:subject/>
  <dc:title>Что нужно начинающему разработчику PostgreSQL?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24</vt:i4>
  </property>
  <property fmtid="{D5CDD505-2E9C-101B-9397-08002B2CF9AE}" pid="3" name="PresentationFormat">
    <vt:lpwstr>On-screen Show (16:9)</vt:lpwstr>
  </property>
  <property fmtid="{D5CDD505-2E9C-101B-9397-08002B2CF9AE}" pid="4" name="Slides">
    <vt:i4>25</vt:i4>
  </property>
</Properties>
</file>